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58" r:id="rId2"/>
  </p:sldMasterIdLst>
  <p:notesMasterIdLst>
    <p:notesMasterId r:id="rId15"/>
  </p:notesMasterIdLst>
  <p:handoutMasterIdLst>
    <p:handoutMasterId r:id="rId16"/>
  </p:handoutMasterIdLst>
  <p:sldIdLst>
    <p:sldId id="735" r:id="rId3"/>
    <p:sldId id="730" r:id="rId4"/>
    <p:sldId id="728" r:id="rId5"/>
    <p:sldId id="731" r:id="rId6"/>
    <p:sldId id="732" r:id="rId7"/>
    <p:sldId id="733" r:id="rId8"/>
    <p:sldId id="729" r:id="rId9"/>
    <p:sldId id="734" r:id="rId10"/>
    <p:sldId id="737" r:id="rId11"/>
    <p:sldId id="739" r:id="rId12"/>
    <p:sldId id="740" r:id="rId13"/>
    <p:sldId id="741" r:id="rId14"/>
  </p:sldIdLst>
  <p:sldSz cx="12192000" cy="6858000"/>
  <p:notesSz cx="6808788" cy="99409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7B7"/>
    <a:srgbClr val="FFCCCC"/>
    <a:srgbClr val="FFFF99"/>
    <a:srgbClr val="006600"/>
    <a:srgbClr val="993300"/>
    <a:srgbClr val="7EB0DE"/>
    <a:srgbClr val="4E93D2"/>
    <a:srgbClr val="2B6EAB"/>
    <a:srgbClr val="EA6B14"/>
    <a:srgbClr val="78B8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12" autoAdjust="0"/>
    <p:restoredTop sz="89049" autoAdjust="0"/>
  </p:normalViewPr>
  <p:slideViewPr>
    <p:cSldViewPr snapToGrid="0" showGuides="1">
      <p:cViewPr varScale="1">
        <p:scale>
          <a:sx n="116" d="100"/>
          <a:sy n="116" d="100"/>
        </p:scale>
        <p:origin x="768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20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475123555931106"/>
          <c:y val="2.4088320143886708E-2"/>
          <c:w val="0.62333407118182782"/>
          <c:h val="0.9326176300532871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2B6EAB"/>
              </a:solidFill>
            </c:spPr>
          </c:dPt>
          <c:dPt>
            <c:idx val="1"/>
            <c:bubble3D val="0"/>
            <c:spPr>
              <a:solidFill>
                <a:srgbClr val="EA6B14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dLbls>
            <c:dLbl>
              <c:idx val="0"/>
              <c:layout>
                <c:manualLayout>
                  <c:x val="-5.3485592918541186E-2"/>
                  <c:y val="3.52105043747224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2836542300449885E-2"/>
                  <c:y val="-1.60050267594792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8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numRef>
              <c:f>Лист1!$A$2:$A$4</c:f>
              <c:numCache>
                <c:formatCode>General</c:formatCode>
                <c:ptCount val="3"/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39.2</c:v>
                </c:pt>
                <c:pt idx="1">
                  <c:v>79.5999999999999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845486158428635E-2"/>
          <c:y val="2.4182872708544477E-3"/>
          <c:w val="0.96866826938657957"/>
          <c:h val="0.821727200715185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твержденный лимит</c:v>
                </c:pt>
              </c:strCache>
            </c:strRef>
          </c:tx>
          <c:spPr>
            <a:solidFill>
              <a:srgbClr val="7EB0DE"/>
            </a:solidFill>
          </c:spPr>
          <c:invertIfNegative val="0"/>
          <c:dLbls>
            <c:dLbl>
              <c:idx val="0"/>
              <c:layout>
                <c:manualLayout>
                  <c:x val="-1.2586805598571371E-3"/>
                  <c:y val="0.191300555142833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5173611197142971E-3"/>
                  <c:y val="0.1847539127612624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2585814511517405E-3"/>
                  <c:y val="8.077837375805162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600" b="1"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12.7</c:v>
                </c:pt>
                <c:pt idx="1">
                  <c:v>98.8</c:v>
                </c:pt>
                <c:pt idx="2">
                  <c:v>7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 освоения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-1.2586805598571486E-3"/>
                  <c:y val="0.1883298247255044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0.186453902879348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2586805598571486E-3"/>
                  <c:y val="1.078081664736265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600" b="1"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312.7</c:v>
                </c:pt>
                <c:pt idx="1">
                  <c:v>98.8</c:v>
                </c:pt>
                <c:pt idx="2">
                  <c:v>7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9"/>
        <c:axId val="-1846184832"/>
        <c:axId val="-1846183200"/>
      </c:barChart>
      <c:catAx>
        <c:axId val="-1846184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-1846183200"/>
        <c:crosses val="autoZero"/>
        <c:auto val="1"/>
        <c:lblAlgn val="ctr"/>
        <c:lblOffset val="100"/>
        <c:noMultiLvlLbl val="0"/>
      </c:catAx>
      <c:valAx>
        <c:axId val="-18461832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184618483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0395472476471841"/>
          <c:y val="0.85662221143181916"/>
          <c:w val="0.80467963556936117"/>
          <c:h val="0.10774226512989785"/>
        </c:manualLayout>
      </c:layout>
      <c:overlay val="0"/>
      <c:txPr>
        <a:bodyPr/>
        <a:lstStyle/>
        <a:p>
          <a:pPr>
            <a:defRPr sz="2000" b="1" i="1">
              <a:latin typeface="Arial" pitchFamily="34" charset="0"/>
              <a:cs typeface="Arial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475123555931106"/>
          <c:y val="2.4088320143886708E-2"/>
          <c:w val="0.62333407118182782"/>
          <c:h val="0.93261763005328713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2B6EAB"/>
              </a:solidFill>
            </c:spPr>
          </c:dPt>
          <c:dPt>
            <c:idx val="1"/>
            <c:bubble3D val="0"/>
            <c:spPr>
              <a:solidFill>
                <a:srgbClr val="EA6B14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dLbls>
            <c:dLbl>
              <c:idx val="0"/>
              <c:layout>
                <c:manualLayout>
                  <c:x val="-0.14975966017191533"/>
                  <c:y val="5.44162340336619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2836542300449885E-2"/>
                  <c:y val="-1.60050267594792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8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numRef>
              <c:f>Лист1!$A$2:$A$4</c:f>
              <c:numCache>
                <c:formatCode>General</c:formatCode>
                <c:ptCount val="3"/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1.32</c:v>
                </c:pt>
                <c:pt idx="1">
                  <c:v>7.3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1" y="10"/>
            <a:ext cx="2951165" cy="496887"/>
          </a:xfrm>
          <a:prstGeom prst="rect">
            <a:avLst/>
          </a:prstGeom>
        </p:spPr>
        <p:txBody>
          <a:bodyPr vert="horz" lIns="91357" tIns="45678" rIns="91357" bIns="4567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6044" y="10"/>
            <a:ext cx="2951163" cy="496887"/>
          </a:xfrm>
          <a:prstGeom prst="rect">
            <a:avLst/>
          </a:prstGeom>
        </p:spPr>
        <p:txBody>
          <a:bodyPr vert="horz" lIns="91357" tIns="45678" rIns="91357" bIns="45678" rtlCol="0"/>
          <a:lstStyle>
            <a:lvl1pPr algn="r">
              <a:defRPr sz="1200"/>
            </a:lvl1pPr>
          </a:lstStyle>
          <a:p>
            <a:fld id="{4C58D488-F5B3-405A-8E8E-120FA6DE6A52}" type="datetimeFigureOut">
              <a:rPr lang="ru-RU" smtClean="0"/>
              <a:pPr/>
              <a:t>30.12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1" y="9442463"/>
            <a:ext cx="2951165" cy="496887"/>
          </a:xfrm>
          <a:prstGeom prst="rect">
            <a:avLst/>
          </a:prstGeom>
        </p:spPr>
        <p:txBody>
          <a:bodyPr vert="horz" lIns="91357" tIns="45678" rIns="91357" bIns="4567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6044" y="9442463"/>
            <a:ext cx="2951163" cy="496887"/>
          </a:xfrm>
          <a:prstGeom prst="rect">
            <a:avLst/>
          </a:prstGeom>
        </p:spPr>
        <p:txBody>
          <a:bodyPr vert="horz" lIns="91357" tIns="45678" rIns="91357" bIns="45678" rtlCol="0" anchor="b"/>
          <a:lstStyle>
            <a:lvl1pPr algn="r">
              <a:defRPr sz="1200"/>
            </a:lvl1pPr>
          </a:lstStyle>
          <a:p>
            <a:fld id="{18D694FC-21DA-4FB5-8580-66EA71E99E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44733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0" y="10"/>
            <a:ext cx="2951165" cy="496887"/>
          </a:xfrm>
          <a:prstGeom prst="rect">
            <a:avLst/>
          </a:prstGeom>
        </p:spPr>
        <p:txBody>
          <a:bodyPr vert="horz" lIns="91357" tIns="45678" rIns="91357" bIns="4567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044" y="10"/>
            <a:ext cx="2951163" cy="496887"/>
          </a:xfrm>
          <a:prstGeom prst="rect">
            <a:avLst/>
          </a:prstGeom>
        </p:spPr>
        <p:txBody>
          <a:bodyPr vert="horz" lIns="91357" tIns="45678" rIns="91357" bIns="45678" rtlCol="0"/>
          <a:lstStyle>
            <a:lvl1pPr algn="r">
              <a:defRPr sz="1200"/>
            </a:lvl1pPr>
          </a:lstStyle>
          <a:p>
            <a:fld id="{BBFA6C56-2A64-4089-BAE3-4EA59C255D26}" type="datetimeFigureOut">
              <a:rPr lang="ru-RU" smtClean="0"/>
              <a:pPr/>
              <a:t>30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6125"/>
            <a:ext cx="6634162" cy="3732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57" tIns="45678" rIns="91357" bIns="4567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46" y="4721231"/>
            <a:ext cx="5446711" cy="4473577"/>
          </a:xfrm>
          <a:prstGeom prst="rect">
            <a:avLst/>
          </a:prstGeom>
        </p:spPr>
        <p:txBody>
          <a:bodyPr vert="horz" lIns="91357" tIns="45678" rIns="91357" bIns="4567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0" y="9442463"/>
            <a:ext cx="2951165" cy="496887"/>
          </a:xfrm>
          <a:prstGeom prst="rect">
            <a:avLst/>
          </a:prstGeom>
        </p:spPr>
        <p:txBody>
          <a:bodyPr vert="horz" lIns="91357" tIns="45678" rIns="91357" bIns="4567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044" y="9442463"/>
            <a:ext cx="2951163" cy="496887"/>
          </a:xfrm>
          <a:prstGeom prst="rect">
            <a:avLst/>
          </a:prstGeom>
        </p:spPr>
        <p:txBody>
          <a:bodyPr vert="horz" lIns="91357" tIns="45678" rIns="91357" bIns="45678" rtlCol="0" anchor="b"/>
          <a:lstStyle>
            <a:lvl1pPr algn="r">
              <a:defRPr sz="1200"/>
            </a:lvl1pPr>
          </a:lstStyle>
          <a:p>
            <a:fld id="{692472F7-48B4-41CE-AC68-1E02AFB2335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00919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B3AF8D-3FDE-46A5-852E-6C0661EAA14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7517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FEFCE-E81F-4034-A5DF-C960AA9C548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107628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E59AB-4512-4C8A-9F99-54DA07A2624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98113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0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191" descr="Sberbank_russian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1"/>
            <a:ext cx="12192000" cy="6874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4468" y="2729269"/>
            <a:ext cx="6714779" cy="482440"/>
          </a:xfrm>
          <a:prstGeom prst="rect">
            <a:avLst/>
          </a:prstGeom>
        </p:spPr>
        <p:txBody>
          <a:bodyPr lIns="91407" tIns="45705" rIns="91407" bIns="45705" anchor="t"/>
          <a:lstStyle>
            <a:lvl1pPr>
              <a:defRPr sz="33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7226654" y="5223866"/>
            <a:ext cx="2384405" cy="430887"/>
          </a:xfrm>
        </p:spPr>
        <p:txBody>
          <a:bodyPr>
            <a:spAutoFit/>
          </a:bodyPr>
          <a:lstStyle>
            <a:lvl1pPr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zh-CN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870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24629113-190E-4C09-BE49-613DE8B4CDE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291040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497" y="4407514"/>
            <a:ext cx="10362660" cy="599395"/>
          </a:xfrm>
          <a:prstGeom prst="rect">
            <a:avLst/>
          </a:prstGeom>
        </p:spPr>
        <p:txBody>
          <a:bodyPr lIns="91407" tIns="45705" rIns="91407" bIns="45705" anchor="t"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497" y="2907443"/>
            <a:ext cx="10362660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8815" indent="0">
              <a:buNone/>
              <a:defRPr sz="1800"/>
            </a:lvl2pPr>
            <a:lvl3pPr marL="917709" indent="0">
              <a:buNone/>
              <a:defRPr sz="1600"/>
            </a:lvl3pPr>
            <a:lvl4pPr marL="1376577" indent="0">
              <a:buNone/>
              <a:defRPr sz="1400"/>
            </a:lvl4pPr>
            <a:lvl5pPr marL="1835437" indent="0">
              <a:buNone/>
              <a:defRPr sz="1400"/>
            </a:lvl5pPr>
            <a:lvl6pPr marL="2294299" indent="0">
              <a:buNone/>
              <a:defRPr sz="1400"/>
            </a:lvl6pPr>
            <a:lvl7pPr marL="2753159" indent="0">
              <a:buNone/>
              <a:defRPr sz="1400"/>
            </a:lvl7pPr>
            <a:lvl8pPr marL="3212019" indent="0">
              <a:buNone/>
              <a:defRPr sz="1400"/>
            </a:lvl8pPr>
            <a:lvl9pPr marL="3670879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F24C079-9F80-4676-9251-87B7148D89A1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00873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976262" y="1990667"/>
            <a:ext cx="282284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06407" y="1990667"/>
            <a:ext cx="2822843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67256F83-DBC1-4397-8451-8A7FD2C17BB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462904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3868"/>
            <a:ext cx="10973880" cy="283411"/>
          </a:xfrm>
          <a:prstGeom prst="rect">
            <a:avLst/>
          </a:prstGeom>
        </p:spPr>
        <p:txBody>
          <a:bodyPr lIns="91407" tIns="45705" rIns="91407" bIns="45705"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091" y="1535541"/>
            <a:ext cx="538650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091" y="2175319"/>
            <a:ext cx="538650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4271" y="1535541"/>
            <a:ext cx="5388669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8815" indent="0">
              <a:buNone/>
              <a:defRPr sz="2000" b="1"/>
            </a:lvl2pPr>
            <a:lvl3pPr marL="917709" indent="0">
              <a:buNone/>
              <a:defRPr sz="1800" b="1"/>
            </a:lvl3pPr>
            <a:lvl4pPr marL="1376577" indent="0">
              <a:buNone/>
              <a:defRPr sz="1600" b="1"/>
            </a:lvl4pPr>
            <a:lvl5pPr marL="1835437" indent="0">
              <a:buNone/>
              <a:defRPr sz="1600" b="1"/>
            </a:lvl5pPr>
            <a:lvl6pPr marL="2294299" indent="0">
              <a:buNone/>
              <a:defRPr sz="1600" b="1"/>
            </a:lvl6pPr>
            <a:lvl7pPr marL="2753159" indent="0">
              <a:buNone/>
              <a:defRPr sz="1600" b="1"/>
            </a:lvl7pPr>
            <a:lvl8pPr marL="3212019" indent="0">
              <a:buNone/>
              <a:defRPr sz="1600" b="1"/>
            </a:lvl8pPr>
            <a:lvl9pPr marL="3670879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4271" y="2175319"/>
            <a:ext cx="5388669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BEDCF510-2779-4100-A795-B5F4ED39BB2D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80008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2136F51-D19E-4535-8CE4-41AEBEAEF19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287075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06E1E49-ACF1-49AA-9C1B-EC5BB171B6C3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38305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36799"/>
            <a:ext cx="4010725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673" y="273746"/>
            <a:ext cx="6816289" cy="5852139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060" y="1435100"/>
            <a:ext cx="4010725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BD80B04-FE98-48D4-84E2-6DC52AA33BEB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804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C686A-82AE-4D37-A73D-BD8606A4037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60515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8725" y="5069555"/>
            <a:ext cx="7315200" cy="298327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8725" y="612265"/>
            <a:ext cx="73152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58815" indent="0">
              <a:buNone/>
              <a:defRPr sz="2900"/>
            </a:lvl2pPr>
            <a:lvl3pPr marL="917709" indent="0">
              <a:buNone/>
              <a:defRPr sz="2400"/>
            </a:lvl3pPr>
            <a:lvl4pPr marL="1376577" indent="0">
              <a:buNone/>
              <a:defRPr sz="2000"/>
            </a:lvl4pPr>
            <a:lvl5pPr marL="1835437" indent="0">
              <a:buNone/>
              <a:defRPr sz="2000"/>
            </a:lvl5pPr>
            <a:lvl6pPr marL="2294299" indent="0">
              <a:buNone/>
              <a:defRPr sz="2000"/>
            </a:lvl6pPr>
            <a:lvl7pPr marL="2753159" indent="0">
              <a:buNone/>
              <a:defRPr sz="2000"/>
            </a:lvl7pPr>
            <a:lvl8pPr marL="3212019" indent="0">
              <a:buNone/>
              <a:defRPr sz="2000"/>
            </a:lvl8pPr>
            <a:lvl9pPr marL="3670879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8725" y="5367836"/>
            <a:ext cx="7315200" cy="805015"/>
          </a:xfrm>
        </p:spPr>
        <p:txBody>
          <a:bodyPr/>
          <a:lstStyle>
            <a:lvl1pPr marL="0" indent="0">
              <a:buNone/>
              <a:defRPr sz="1400"/>
            </a:lvl1pPr>
            <a:lvl2pPr marL="458815" indent="0">
              <a:buNone/>
              <a:defRPr sz="1200"/>
            </a:lvl2pPr>
            <a:lvl3pPr marL="917709" indent="0">
              <a:buNone/>
              <a:defRPr sz="1000"/>
            </a:lvl3pPr>
            <a:lvl4pPr marL="1376577" indent="0">
              <a:buNone/>
              <a:defRPr sz="900"/>
            </a:lvl4pPr>
            <a:lvl5pPr marL="1835437" indent="0">
              <a:buNone/>
              <a:defRPr sz="900"/>
            </a:lvl5pPr>
            <a:lvl6pPr marL="2294299" indent="0">
              <a:buNone/>
              <a:defRPr sz="900"/>
            </a:lvl6pPr>
            <a:lvl7pPr marL="2753159" indent="0">
              <a:buNone/>
              <a:defRPr sz="900"/>
            </a:lvl7pPr>
            <a:lvl8pPr marL="3212019" indent="0">
              <a:buNone/>
              <a:defRPr sz="900"/>
            </a:lvl8pPr>
            <a:lvl9pPr marL="3670879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EB0F5E5-7C97-4B3E-A1BA-D3E2489CC27F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37200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2210" y="375826"/>
            <a:ext cx="9144540" cy="283411"/>
          </a:xfrm>
          <a:prstGeom prst="rect">
            <a:avLst/>
          </a:prstGeom>
        </p:spPr>
        <p:txBody>
          <a:bodyPr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C4EFC214-7A46-4431-96E1-FC9776093D82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348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21471" y="379021"/>
            <a:ext cx="370357" cy="2858851"/>
          </a:xfrm>
          <a:prstGeom prst="rect">
            <a:avLst/>
          </a:prstGeom>
        </p:spPr>
        <p:txBody>
          <a:bodyPr vert="eaVert" lIns="91407" tIns="45705" rIns="91407" bIns="4570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1994" y="379021"/>
            <a:ext cx="6652145" cy="2858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3E227B06-6E40-42A8-AC3C-8693D8753A86}" type="slidenum">
              <a:rPr lang="ru-RU"/>
              <a:pPr>
                <a:defRPr/>
              </a:pPr>
              <a:t>‹#›</a:t>
            </a:fld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633450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0" y="1718550"/>
            <a:ext cx="8442609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61985" y="6614570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61985" y="6376148"/>
            <a:ext cx="11261131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61986" y="511725"/>
            <a:ext cx="9222292" cy="2777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40860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7879BE-5C38-4839-A9AE-DFFA73C9C2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071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A659BC-D9C3-49C5-9748-8AFA72425F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06083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6FEA2-06CB-4154-A894-1EC772999C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4618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EDE324-4868-4088-A638-A4E23080D2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059251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5CEAF-D863-43C6-91E2-CEF9EE3785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C:\Users\user\Desktop\Презентация Э.А. Зарипова\Слайд1.JPG"/>
          <p:cNvPicPr>
            <a:picLocks noChangeAspect="1" noChangeArrowheads="1"/>
          </p:cNvPicPr>
          <p:nvPr userDrawn="1"/>
        </p:nvPicPr>
        <p:blipFill rotWithShape="1">
          <a:blip r:embed="rId2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saturation sat="2000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62" r="93651" b="803"/>
          <a:stretch/>
        </p:blipFill>
        <p:spPr bwMode="auto">
          <a:xfrm>
            <a:off x="353957" y="0"/>
            <a:ext cx="499114" cy="6858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918569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5AB486-5958-4AFE-8E5C-4530DEC8225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415537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55FAA-BBF2-4E5C-92FC-B5D667F1E72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05328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CFEB23-167B-43AF-A99E-02F0E163001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2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8E3DBA-4EF8-49D9-A4E7-8E0AF2656E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181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>
    <p:fade/>
  </p:transition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62219" y="3240"/>
            <a:ext cx="612347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85" y="792056"/>
            <a:ext cx="4973989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512005" name="McK Slide Elements"/>
          <p:cNvGrpSpPr>
            <a:grpSpLocks/>
          </p:cNvGrpSpPr>
          <p:nvPr/>
        </p:nvGrpSpPr>
        <p:grpSpPr bwMode="auto">
          <a:xfrm>
            <a:off x="161985" y="6265172"/>
            <a:ext cx="11630453" cy="432472"/>
            <a:chOff x="75" y="3868"/>
            <a:chExt cx="5385" cy="267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68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dirty="0" smtClean="0">
                  <a:solidFill>
                    <a:srgbClr val="000000"/>
                  </a:solidFill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40"/>
              <a:ext cx="4323" cy="95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783894" indent="-783894" defTabSz="898597" fontAlgn="base">
                <a:spcBef>
                  <a:spcPct val="0"/>
                </a:spcBef>
                <a:spcAft>
                  <a:spcPct val="0"/>
                </a:spcAft>
                <a:tabLst>
                  <a:tab pos="782296" algn="l"/>
                </a:tabLst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512006" name="ACET" hidden="1"/>
          <p:cNvGrpSpPr>
            <a:grpSpLocks/>
          </p:cNvGrpSpPr>
          <p:nvPr/>
        </p:nvGrpSpPr>
        <p:grpSpPr bwMode="auto">
          <a:xfrm>
            <a:off x="1976220" y="1158139"/>
            <a:ext cx="5801189" cy="510218"/>
            <a:chOff x="915" y="715"/>
            <a:chExt cx="2686" cy="315"/>
          </a:xfrm>
        </p:grpSpPr>
        <p:cxnSp>
          <p:nvCxnSpPr>
            <p:cNvPr id="512017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>
                  <a:solidFill>
                    <a:srgbClr val="000000"/>
                  </a:solidFill>
                </a:rPr>
                <a:t>Название документа</a:t>
              </a:r>
            </a:p>
            <a:p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745147" y="6598841"/>
            <a:ext cx="265655" cy="15549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rgbClr val="000000"/>
                </a:solidFill>
                <a:latin typeface="Arial" pitchFamily="34" charset="0"/>
              </a:defRPr>
            </a:lvl1pPr>
          </a:lstStyle>
          <a:p>
            <a:pPr defTabSz="914070" fontAlgn="base">
              <a:spcBef>
                <a:spcPct val="0"/>
              </a:spcBef>
              <a:spcAft>
                <a:spcPct val="0"/>
              </a:spcAft>
              <a:defRPr/>
            </a:pPr>
            <a:fld id="{71AB364B-99C2-4464-BD2B-7D82AD7F419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fld id="{9F557764-5AF6-40E1-9141-591630B2B9F8}" type="slidenum">
              <a:rPr lang="ru-RU" smtClean="0"/>
              <a:pPr defTabSz="91407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51200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13" y="1990667"/>
            <a:ext cx="5853024" cy="12472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318" name="doc id"/>
          <p:cNvSpPr>
            <a:spLocks noChangeArrowheads="1"/>
          </p:cNvSpPr>
          <p:nvPr/>
        </p:nvSpPr>
        <p:spPr bwMode="auto">
          <a:xfrm>
            <a:off x="109954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859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pic>
        <p:nvPicPr>
          <p:cNvPr id="512010" name="Picture 338" descr="Сбербанк России. Всегда рядом"/>
          <p:cNvPicPr>
            <a:picLocks noChangeAspect="1" noChangeArrowheads="1"/>
          </p:cNvPicPr>
          <p:nvPr/>
        </p:nvPicPr>
        <p:blipFill>
          <a:blip r:embed="rId14" cstate="print"/>
          <a:srcRect t="11224" r="6099" b="7909"/>
          <a:stretch>
            <a:fillRect/>
          </a:stretch>
        </p:blipFill>
        <p:spPr bwMode="auto">
          <a:xfrm>
            <a:off x="9306545" y="93946"/>
            <a:ext cx="2760208" cy="513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12011" name="Группа 14"/>
          <p:cNvGrpSpPr>
            <a:grpSpLocks/>
          </p:cNvGrpSpPr>
          <p:nvPr/>
        </p:nvGrpSpPr>
        <p:grpSpPr bwMode="auto">
          <a:xfrm>
            <a:off x="161986" y="701388"/>
            <a:ext cx="11965221" cy="43733"/>
            <a:chOff x="273050" y="888717"/>
            <a:chExt cx="9400377" cy="36000"/>
          </a:xfrm>
        </p:grpSpPr>
        <p:cxnSp>
          <p:nvCxnSpPr>
            <p:cNvPr id="8" name="Прямая соединительная линия 12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Прямоугольный треугольник 13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2012" name="Группа 15"/>
          <p:cNvGrpSpPr>
            <a:grpSpLocks/>
          </p:cNvGrpSpPr>
          <p:nvPr/>
        </p:nvGrpSpPr>
        <p:grpSpPr bwMode="auto">
          <a:xfrm>
            <a:off x="161986" y="6731662"/>
            <a:ext cx="11965221" cy="43735"/>
            <a:chOff x="273050" y="888717"/>
            <a:chExt cx="9400377" cy="36000"/>
          </a:xfrm>
        </p:grpSpPr>
        <p:cxnSp>
          <p:nvCxnSpPr>
            <p:cNvPr id="11" name="Прямая соединительная линия 16"/>
            <p:cNvCxnSpPr/>
            <p:nvPr userDrawn="1"/>
          </p:nvCxnSpPr>
          <p:spPr>
            <a:xfrm>
              <a:off x="273050" y="908050"/>
              <a:ext cx="9359900" cy="1588"/>
            </a:xfrm>
            <a:prstGeom prst="line">
              <a:avLst/>
            </a:prstGeom>
            <a:ln w="50800" cap="flat">
              <a:gradFill flip="none" rotWithShape="1">
                <a:gsLst>
                  <a:gs pos="0">
                    <a:schemeClr val="accent1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ый треугольник 17"/>
            <p:cNvSpPr/>
            <p:nvPr userDrawn="1"/>
          </p:nvSpPr>
          <p:spPr>
            <a:xfrm flipH="1">
              <a:off x="9602161" y="888717"/>
              <a:ext cx="71266" cy="36000"/>
            </a:xfrm>
            <a:prstGeom prst="rtTriangle">
              <a:avLst/>
            </a:prstGeom>
            <a:solidFill>
              <a:schemeClr val="bg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070">
                <a:defRPr/>
              </a:pPr>
              <a:endParaRPr lang="ru-RU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8729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+mj-lt"/>
          <a:ea typeface="+mj-ea"/>
          <a:cs typeface="+mj-cs"/>
        </a:defRPr>
      </a:lvl1pPr>
      <a:lvl2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2pPr>
      <a:lvl3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3pPr>
      <a:lvl4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4pPr>
      <a:lvl5pPr algn="l" defTabSz="898597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5pPr>
      <a:lvl6pPr marL="458815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6pPr>
      <a:lvl7pPr marL="917709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7pPr>
      <a:lvl8pPr marL="137657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8pPr>
      <a:lvl9pPr marL="1835437" algn="l" defTabSz="898597" rtl="0" fontAlgn="base">
        <a:lnSpc>
          <a:spcPct val="95000"/>
        </a:lnSpc>
        <a:spcBef>
          <a:spcPct val="0"/>
        </a:spcBef>
        <a:spcAft>
          <a:spcPct val="0"/>
        </a:spcAft>
        <a:defRPr sz="1900" b="1">
          <a:solidFill>
            <a:srgbClr val="00703C"/>
          </a:solidFill>
          <a:latin typeface="Arial" pitchFamily="34" charset="0"/>
        </a:defRPr>
      </a:lvl9pPr>
    </p:titleStyle>
    <p:bodyStyle>
      <a:lvl1pPr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4381" indent="-192790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8815" indent="-26289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6594" indent="-156143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8833" indent="-130649" algn="l" defTabSz="898597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7699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6554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25425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84280" indent="-130649" algn="l" defTabSz="898597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8815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770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57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35437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9429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5315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1201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70879" algn="l" defTabSz="9177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gif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2.xml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Users\user\Desktop\картинки\эмб\100 лет ТА1ССР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732" y="140912"/>
            <a:ext cx="1798561" cy="95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599301" y="1395394"/>
            <a:ext cx="9977717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 исполнении </a:t>
            </a:r>
            <a:r>
              <a:rPr lang="ru-RU" sz="2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х проектов: </a:t>
            </a:r>
          </a:p>
          <a:p>
            <a:pPr algn="just"/>
            <a:endParaRPr lang="ru-RU" sz="12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 algn="just">
              <a:buAutoNum type="arabicPeriod"/>
            </a:pPr>
            <a:r>
              <a:rPr lang="ru-RU" sz="2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Создание </a:t>
            </a:r>
            <a:r>
              <a:rPr lang="ru-RU" sz="2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ы поддержки фермеров </a:t>
            </a:r>
            <a:r>
              <a:rPr lang="ru-RU" sz="2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2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сельской кооперации»</a:t>
            </a:r>
            <a:r>
              <a:rPr lang="tt-RU" sz="26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tt-RU" sz="2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tt-RU" sz="26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рамках национального проекта </a:t>
            </a:r>
            <a:r>
              <a:rPr lang="ru-RU" sz="2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tt-RU" sz="2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Малое </a:t>
            </a:r>
            <a:r>
              <a:rPr lang="tt-RU" sz="26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и среднее предпринимательство </a:t>
            </a:r>
            <a:r>
              <a:rPr lang="tt-RU" sz="2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tt-RU" sz="2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</a:br>
            <a:r>
              <a:rPr lang="tt-RU" sz="2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tt-RU" sz="26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оддержка индивидуальной предпринимательской инициативы </a:t>
            </a:r>
            <a:r>
              <a:rPr lang="tt-RU" sz="2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до </a:t>
            </a:r>
            <a:r>
              <a:rPr lang="tt-RU" sz="26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2024 </a:t>
            </a:r>
            <a:r>
              <a:rPr lang="tt-RU" sz="2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года</a:t>
            </a:r>
            <a:r>
              <a:rPr lang="ru-RU" sz="2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;</a:t>
            </a:r>
          </a:p>
          <a:p>
            <a:pPr marL="514350" indent="-514350" algn="just">
              <a:buAutoNum type="arabicPeriod"/>
            </a:pPr>
            <a:endParaRPr lang="ru-RU" sz="12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 algn="just">
              <a:buAutoNum type="arabicPeriod"/>
            </a:pPr>
            <a:r>
              <a:rPr lang="ru-RU" sz="26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«Экспорт продукции АПК</a:t>
            </a:r>
            <a:r>
              <a:rPr lang="ru-RU" sz="2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» в рамках национального проекта «Международная </a:t>
            </a:r>
            <a:r>
              <a:rPr lang="ru-RU" sz="26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кооперация и экспорт» </a:t>
            </a:r>
            <a:r>
              <a:rPr lang="ru-RU" sz="2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</a:br>
            <a:r>
              <a:rPr lang="ru-RU" sz="2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26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2019  </a:t>
            </a:r>
            <a:r>
              <a:rPr lang="ru-RU" sz="26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году</a:t>
            </a:r>
            <a:endParaRPr lang="ru-RU" sz="26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235216" y="5788003"/>
            <a:ext cx="10956784" cy="830993"/>
          </a:xfrm>
          <a:prstGeom prst="rect">
            <a:avLst/>
          </a:prstGeom>
          <a:noFill/>
        </p:spPr>
        <p:txBody>
          <a:bodyPr wrap="square" lIns="121917" tIns="60958" rIns="121917" bIns="60958" rtlCol="0">
            <a:spAutoFit/>
          </a:bodyPr>
          <a:lstStyle/>
          <a:p>
            <a:pPr algn="ctr"/>
            <a:r>
              <a:rPr lang="ru-RU" sz="2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меститель Премьер-министра Республики Татарстан - министр</a:t>
            </a:r>
            <a:endParaRPr lang="ru-RU" sz="23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3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Зяббаров</a:t>
            </a:r>
            <a:r>
              <a:rPr lang="ru-RU" sz="2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Марат Азатович</a:t>
            </a:r>
            <a:endParaRPr lang="ru-RU" sz="23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89493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Users\user\Desktop\картинки\эмб\100 лет ТА1ССР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732" y="140912"/>
            <a:ext cx="1798561" cy="95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2537018" y="1001857"/>
            <a:ext cx="9654981" cy="12999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lnSpc>
                <a:spcPts val="2800"/>
              </a:lnSpc>
            </a:pPr>
            <a:r>
              <a:rPr lang="ru-RU" sz="26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Закупка оборудования, улучшение материально-технической базы в рамках национального </a:t>
            </a:r>
            <a:r>
              <a:rPr lang="ru-RU" sz="26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екта </a:t>
            </a:r>
            <a:r>
              <a:rPr lang="ru-RU" sz="26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Международная кооперация и экспорт» </a:t>
            </a:r>
            <a:r>
              <a:rPr lang="ru-RU" sz="26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РТ </a:t>
            </a:r>
          </a:p>
          <a:p>
            <a:pPr>
              <a:lnSpc>
                <a:spcPts val="2800"/>
              </a:lnSpc>
            </a:pPr>
            <a:r>
              <a:rPr lang="ru-RU" sz="26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2019 году, млн </a:t>
            </a:r>
            <a:r>
              <a:rPr lang="ru-RU" sz="2600" b="1" strike="sngStrike" dirty="0" smtClean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endParaRPr lang="ru-RU" sz="2600" b="1" strike="sngStrike" dirty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220546" y="5712675"/>
            <a:ext cx="109375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2000" b="1" i="1" dirty="0">
                <a:latin typeface="Arial" pitchFamily="34" charset="0"/>
                <a:cs typeface="Arial" pitchFamily="34" charset="0"/>
              </a:rPr>
              <a:t>2 комплекта дождевальных машин </a:t>
            </a:r>
            <a:r>
              <a:rPr lang="ru-RU" sz="2000" b="1" i="1" dirty="0" smtClean="0">
                <a:latin typeface="Arial" pitchFamily="34" charset="0"/>
                <a:cs typeface="Arial" pitchFamily="34" charset="0"/>
              </a:rPr>
              <a:t>ОРСИС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2000" b="1" i="1" dirty="0" smtClean="0">
                <a:latin typeface="Arial" pitchFamily="34" charset="0"/>
                <a:cs typeface="Arial" pitchFamily="34" charset="0"/>
              </a:rPr>
              <a:t>оросительная </a:t>
            </a:r>
            <a:r>
              <a:rPr lang="ru-RU" sz="2000" b="1" i="1" dirty="0">
                <a:latin typeface="Arial" pitchFamily="34" charset="0"/>
                <a:cs typeface="Arial" pitchFamily="34" charset="0"/>
              </a:rPr>
              <a:t>техника кругового </a:t>
            </a:r>
            <a:r>
              <a:rPr lang="ru-RU" sz="2000" b="1" i="1" dirty="0" smtClean="0">
                <a:latin typeface="Arial" pitchFamily="34" charset="0"/>
                <a:cs typeface="Arial" pitchFamily="34" charset="0"/>
              </a:rPr>
              <a:t>действия: Казанка-7</a:t>
            </a:r>
            <a:r>
              <a:rPr lang="ru-RU" sz="2000" b="1" i="1" dirty="0">
                <a:latin typeface="Arial" pitchFamily="34" charset="0"/>
                <a:cs typeface="Arial" pitchFamily="34" charset="0"/>
              </a:rPr>
              <a:t>, </a:t>
            </a:r>
            <a:r>
              <a:rPr lang="ru-RU" sz="2000" b="1" i="1" dirty="0" smtClean="0">
                <a:latin typeface="Arial" pitchFamily="34" charset="0"/>
                <a:cs typeface="Arial" pitchFamily="34" charset="0"/>
              </a:rPr>
              <a:t>Казанка-6</a:t>
            </a:r>
            <a:r>
              <a:rPr lang="ru-RU" sz="2000" b="1" i="1" dirty="0">
                <a:latin typeface="Arial" pitchFamily="34" charset="0"/>
                <a:cs typeface="Arial" pitchFamily="34" charset="0"/>
              </a:rPr>
              <a:t>, </a:t>
            </a:r>
            <a:r>
              <a:rPr lang="ru-RU" sz="2000" b="1" i="1" dirty="0" smtClean="0">
                <a:latin typeface="Arial" pitchFamily="34" charset="0"/>
                <a:cs typeface="Arial" pitchFamily="34" charset="0"/>
              </a:rPr>
              <a:t>Казанка-5</a:t>
            </a:r>
            <a:endParaRPr lang="ru-RU" sz="2000" b="1" i="1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0976710"/>
              </p:ext>
            </p:extLst>
          </p:nvPr>
        </p:nvGraphicFramePr>
        <p:xfrm>
          <a:off x="1235207" y="2746880"/>
          <a:ext cx="10527617" cy="27305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47028">
                  <a:extLst>
                    <a:ext uri="{9D8B030D-6E8A-4147-A177-3AD203B41FA5}">
                      <a16:colId xmlns:a16="http://schemas.microsoft.com/office/drawing/2014/main" xmlns="" val="2609582426"/>
                    </a:ext>
                  </a:extLst>
                </a:gridCol>
                <a:gridCol w="1810871">
                  <a:extLst>
                    <a:ext uri="{9D8B030D-6E8A-4147-A177-3AD203B41FA5}">
                      <a16:colId xmlns:a16="http://schemas.microsoft.com/office/drawing/2014/main" xmlns="" val="3360994099"/>
                    </a:ext>
                  </a:extLst>
                </a:gridCol>
                <a:gridCol w="1577788">
                  <a:extLst>
                    <a:ext uri="{9D8B030D-6E8A-4147-A177-3AD203B41FA5}">
                      <a16:colId xmlns:a16="http://schemas.microsoft.com/office/drawing/2014/main" xmlns="" val="1532709044"/>
                    </a:ext>
                  </a:extLst>
                </a:gridCol>
                <a:gridCol w="1386878">
                  <a:extLst>
                    <a:ext uri="{9D8B030D-6E8A-4147-A177-3AD203B41FA5}">
                      <a16:colId xmlns:a16="http://schemas.microsoft.com/office/drawing/2014/main" xmlns="" val="77527006"/>
                    </a:ext>
                  </a:extLst>
                </a:gridCol>
                <a:gridCol w="1205052">
                  <a:extLst>
                    <a:ext uri="{9D8B030D-6E8A-4147-A177-3AD203B41FA5}">
                      <a16:colId xmlns:a16="http://schemas.microsoft.com/office/drawing/2014/main" xmlns="" val="752545482"/>
                    </a:ext>
                  </a:extLst>
                </a:gridCol>
              </a:tblGrid>
              <a:tr h="84613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Региональный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проект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Утвержденный лимит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Факт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поступления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Кассовое освоение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% освоения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68940984"/>
                  </a:ext>
                </a:extLst>
              </a:tr>
              <a:tr h="188441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Экспорт продукции агропромышленного комплекса Республики Татарстан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в 2019-2024 гг.</a:t>
                      </a:r>
                      <a:endParaRPr lang="ru-RU" sz="18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8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3,29</a:t>
                      </a:r>
                      <a:endParaRPr lang="ru-RU" sz="28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3,2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8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3,2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28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00</a:t>
                      </a:r>
                      <a:endParaRPr lang="ru-RU" sz="28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12420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624711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Users\user\Desktop\картинки\эмб\100 лет ТА1ССР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732" y="140912"/>
            <a:ext cx="1798561" cy="95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2537018" y="948067"/>
            <a:ext cx="9654981" cy="12999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lnSpc>
                <a:spcPts val="3000"/>
              </a:lnSpc>
            </a:pPr>
            <a:r>
              <a:rPr lang="ru-RU" sz="27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гиональный проект «Экспорт продукции агропромышленного комплекса </a:t>
            </a:r>
            <a:r>
              <a:rPr lang="ru-RU" sz="27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спублики Татарстан </a:t>
            </a:r>
            <a:r>
              <a:rPr lang="ru-RU" sz="27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2019-2024 </a:t>
            </a:r>
            <a:r>
              <a:rPr lang="ru-RU" sz="27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г.», тыс. </a:t>
            </a:r>
            <a:r>
              <a:rPr lang="ru-RU" sz="2700" b="1" strike="sngStrike" dirty="0" smtClean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</a:t>
            </a:r>
            <a:endParaRPr lang="ru-RU" sz="2700" b="1" strike="sngStrike" dirty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5754524"/>
              </p:ext>
            </p:extLst>
          </p:nvPr>
        </p:nvGraphicFramePr>
        <p:xfrm>
          <a:off x="1113878" y="3027680"/>
          <a:ext cx="10773323" cy="3078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99802">
                  <a:extLst>
                    <a:ext uri="{9D8B030D-6E8A-4147-A177-3AD203B41FA5}">
                      <a16:colId xmlns:a16="http://schemas.microsoft.com/office/drawing/2014/main" xmlns="" val="2609582426"/>
                    </a:ext>
                  </a:extLst>
                </a:gridCol>
                <a:gridCol w="2011680">
                  <a:extLst>
                    <a:ext uri="{9D8B030D-6E8A-4147-A177-3AD203B41FA5}">
                      <a16:colId xmlns:a16="http://schemas.microsoft.com/office/drawing/2014/main" xmlns="" val="3360994099"/>
                    </a:ext>
                  </a:extLst>
                </a:gridCol>
                <a:gridCol w="1747520">
                  <a:extLst>
                    <a:ext uri="{9D8B030D-6E8A-4147-A177-3AD203B41FA5}">
                      <a16:colId xmlns:a16="http://schemas.microsoft.com/office/drawing/2014/main" xmlns="" val="1532709044"/>
                    </a:ext>
                  </a:extLst>
                </a:gridCol>
                <a:gridCol w="1657873">
                  <a:extLst>
                    <a:ext uri="{9D8B030D-6E8A-4147-A177-3AD203B41FA5}">
                      <a16:colId xmlns:a16="http://schemas.microsoft.com/office/drawing/2014/main" xmlns="" val="77527006"/>
                    </a:ext>
                  </a:extLst>
                </a:gridCol>
                <a:gridCol w="1156448">
                  <a:extLst>
                    <a:ext uri="{9D8B030D-6E8A-4147-A177-3AD203B41FA5}">
                      <a16:colId xmlns:a16="http://schemas.microsoft.com/office/drawing/2014/main" xmlns="" val="752545482"/>
                    </a:ext>
                  </a:extLst>
                </a:gridCol>
              </a:tblGrid>
              <a:tr h="1392646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Мероприятия национального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проекта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Утвержденный лимит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Факт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поступления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Кассовое освоение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% освоения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68940984"/>
                  </a:ext>
                </a:extLst>
              </a:tr>
              <a:tr h="1685834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Ввод в эксплуатацию мелиорируемых земель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8 672,84</a:t>
                      </a:r>
                      <a:endParaRPr lang="ru-RU" sz="2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8 672,84</a:t>
                      </a:r>
                      <a:endParaRPr lang="ru-RU" sz="2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8 672,84</a:t>
                      </a:r>
                      <a:endParaRPr lang="ru-RU" sz="2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00</a:t>
                      </a:r>
                      <a:endParaRPr lang="ru-RU" sz="24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12420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096388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Users\user\Desktop\картинки\эмб\100 лет ТА1ССР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732" y="140912"/>
            <a:ext cx="1798561" cy="95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2537018" y="1026897"/>
            <a:ext cx="9654981" cy="12999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lnSpc>
                <a:spcPts val="3000"/>
              </a:lnSpc>
            </a:pPr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лановые целевые показатели национального проекта «Международная кооперация и экспорт» </a:t>
            </a:r>
          </a:p>
          <a:p>
            <a:pPr>
              <a:lnSpc>
                <a:spcPts val="3000"/>
              </a:lnSpc>
            </a:pPr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Республике Татарстан в 2019  году</a:t>
            </a:r>
            <a:endParaRPr lang="ru-RU" sz="27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3813359"/>
              </p:ext>
            </p:extLst>
          </p:nvPr>
        </p:nvGraphicFramePr>
        <p:xfrm>
          <a:off x="1102659" y="2406081"/>
          <a:ext cx="10748683" cy="41531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66212">
                  <a:extLst>
                    <a:ext uri="{9D8B030D-6E8A-4147-A177-3AD203B41FA5}">
                      <a16:colId xmlns:a16="http://schemas.microsoft.com/office/drawing/2014/main" xmlns="" val="2609582426"/>
                    </a:ext>
                  </a:extLst>
                </a:gridCol>
                <a:gridCol w="1723241"/>
                <a:gridCol w="1459230">
                  <a:extLst>
                    <a:ext uri="{9D8B030D-6E8A-4147-A177-3AD203B41FA5}">
                      <a16:colId xmlns:a16="http://schemas.microsoft.com/office/drawing/2014/main" xmlns="" val="1532709044"/>
                    </a:ext>
                  </a:extLst>
                </a:gridCol>
              </a:tblGrid>
              <a:tr h="650884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Показатели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Значение показателя </a:t>
                      </a:r>
                    </a:p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в 2019 г. (план)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Факт</a:t>
                      </a:r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ическое значение </a:t>
                      </a:r>
                    </a:p>
                    <a:p>
                      <a:pPr algn="ctr"/>
                      <a:r>
                        <a:rPr lang="ru-RU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(на 14.12.19)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68940984"/>
                  </a:ext>
                </a:extLst>
              </a:tr>
              <a:tr h="376564"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800" b="1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Региональный проект «Экспорт продукции АПК Республики Татарстан в 2019-2024 гг.»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812420214"/>
                  </a:ext>
                </a:extLst>
              </a:tr>
              <a:tr h="27403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Основной показатель - Объем экспорта продукции АПК, млрд долл. США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0,3081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0,139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6472562"/>
                  </a:ext>
                </a:extLst>
              </a:tr>
              <a:tr h="54806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Дополнительный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показатель -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Объем экспорта продукции масложировой отрасли, млн долларов США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32,0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81,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251567719"/>
                  </a:ext>
                </a:extLst>
              </a:tr>
              <a:tr h="54806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Дополнительный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показатель - </a:t>
                      </a: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Объем экспорта злаков, </a:t>
                      </a:r>
                      <a:b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млн долларов США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6,8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0,1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13299275"/>
                  </a:ext>
                </a:extLst>
              </a:tr>
              <a:tr h="54806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Дополнительный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показатель - Объем экспорта мяса и молока, </a:t>
                      </a:r>
                      <a:br>
                        <a:rPr lang="ru-RU" sz="16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млн долларов США</a:t>
                      </a:r>
                      <a:endParaRPr lang="ru-RU" sz="16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4,5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,7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28775384"/>
                  </a:ext>
                </a:extLst>
              </a:tr>
              <a:tr h="54806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Дополнительный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показатель - Объем экспорта готовой пищевой продукции, млн долларов США</a:t>
                      </a:r>
                      <a:endParaRPr lang="ru-RU" sz="16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9,4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17,5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06801025"/>
                  </a:ext>
                </a:extLst>
              </a:tr>
              <a:tr h="54806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Дополнительный</a:t>
                      </a:r>
                      <a:r>
                        <a:rPr lang="ru-RU" sz="16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показатель - Объем экспорта прочей продукции АПК, млн долларов США</a:t>
                      </a:r>
                      <a:endParaRPr lang="ru-RU" sz="16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35,5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7,5</a:t>
                      </a:r>
                    </a:p>
                  </a:txBody>
                  <a:tcPr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544686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801974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Users\user\Desktop\картинки\эмб\100 лет ТА1ССР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732" y="140912"/>
            <a:ext cx="1798561" cy="95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2537018" y="1112219"/>
            <a:ext cx="9654981" cy="11422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lnSpc>
                <a:spcPts val="2800"/>
              </a:lnSpc>
            </a:pPr>
            <a:r>
              <a:rPr lang="ru-RU" sz="27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Указ Президента Российской Федерации от 07.05.2018 №204  «О национальных целях и стратегических </a:t>
            </a:r>
            <a:endParaRPr lang="ru-RU" sz="2700" b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2800"/>
              </a:lnSpc>
            </a:pPr>
            <a:r>
              <a:rPr lang="ru-RU" sz="27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задачах </a:t>
            </a:r>
            <a:r>
              <a:rPr lang="ru-RU" sz="27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вития </a:t>
            </a:r>
            <a:r>
              <a:rPr lang="ru-RU" sz="27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Ф </a:t>
            </a:r>
            <a:r>
              <a:rPr lang="ru-RU" sz="27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 период до 2024 года»</a:t>
            </a:r>
          </a:p>
        </p:txBody>
      </p:sp>
      <p:sp>
        <p:nvSpPr>
          <p:cNvPr id="11" name="Стрелка вправо 10"/>
          <p:cNvSpPr/>
          <p:nvPr/>
        </p:nvSpPr>
        <p:spPr>
          <a:xfrm rot="5400000">
            <a:off x="9453241" y="4313238"/>
            <a:ext cx="525771" cy="547079"/>
          </a:xfrm>
          <a:prstGeom prst="rightArrow">
            <a:avLst/>
          </a:prstGeom>
          <a:solidFill>
            <a:srgbClr val="2B6E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7194175" y="3270322"/>
            <a:ext cx="578226" cy="547079"/>
          </a:xfrm>
          <a:prstGeom prst="rightArrow">
            <a:avLst/>
          </a:prstGeom>
          <a:solidFill>
            <a:srgbClr val="2B6E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781363" y="2483330"/>
            <a:ext cx="3805756" cy="1828695"/>
          </a:xfrm>
          <a:prstGeom prst="rect">
            <a:avLst/>
          </a:prstGeom>
          <a:solidFill>
            <a:srgbClr val="CCECFF"/>
          </a:solidFill>
          <a:ln w="19050">
            <a:solidFill>
              <a:srgbClr val="2B6E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й проект «Создание системы поддержки фермеров </a:t>
            </a:r>
            <a:b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развитие сельской кооперации»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248910" y="4864680"/>
            <a:ext cx="8580455" cy="1631216"/>
          </a:xfrm>
          <a:prstGeom prst="rect">
            <a:avLst/>
          </a:prstGeom>
          <a:solidFill>
            <a:srgbClr val="FFFF99"/>
          </a:solidFill>
          <a:ln w="19050">
            <a:solidFill>
              <a:srgbClr val="2B6EAB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ts val="3000"/>
              </a:lnSpc>
            </a:pPr>
            <a:r>
              <a:rPr lang="ru-RU" sz="2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й объем </a:t>
            </a:r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я: </a:t>
            </a:r>
            <a:endParaRPr lang="ru-RU" sz="2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7550" algn="just">
              <a:lnSpc>
                <a:spcPts val="3000"/>
              </a:lnSpc>
            </a:pPr>
            <a:r>
              <a:rPr lang="ru-RU" sz="28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</a:t>
            </a:r>
            <a:r>
              <a:rPr lang="en-US" sz="28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0</a:t>
            </a: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млрд </a:t>
            </a:r>
            <a:r>
              <a:rPr lang="ru-RU" sz="2400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средств федерального </a:t>
            </a: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бюджета </a:t>
            </a:r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7550" algn="just">
              <a:lnSpc>
                <a:spcPts val="3000"/>
              </a:lnSpc>
            </a:pPr>
            <a:r>
              <a:rPr lang="ru-RU" sz="2800" b="1" dirty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,7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лрд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на 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ФХ </a:t>
            </a:r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7550" algn="just">
              <a:lnSpc>
                <a:spcPts val="3000"/>
              </a:lnSpc>
            </a:pPr>
            <a:r>
              <a:rPr lang="ru-RU" sz="28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  <a:r>
              <a:rPr lang="en-US" sz="28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0</a:t>
            </a: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млрд</a:t>
            </a:r>
            <a:r>
              <a:rPr lang="en-US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на  </a:t>
            </a:r>
            <a:r>
              <a:rPr lang="ru-RU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</a:t>
            </a:r>
            <a:r>
              <a:rPr lang="ru-RU" sz="24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К</a:t>
            </a:r>
            <a:r>
              <a:rPr lang="ru-RU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271756" y="2483330"/>
            <a:ext cx="5922418" cy="1828695"/>
          </a:xfrm>
          <a:prstGeom prst="rect">
            <a:avLst/>
          </a:prstGeom>
          <a:solidFill>
            <a:srgbClr val="2B6EAB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36917" tIns="18459" rIns="36917" bIns="18459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36917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  <a:t>Национальный проект </a:t>
            </a:r>
            <a:r>
              <a:rPr lang="en-US" sz="22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  <a:t/>
            </a:r>
            <a:br>
              <a:rPr lang="en-US" sz="22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</a:br>
            <a:r>
              <a:rPr lang="ru-RU" sz="22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  <a:t>«</a:t>
            </a:r>
            <a:r>
              <a:rPr lang="ru-RU" sz="2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  <a:t>Малое и среднее предпринимательство </a:t>
            </a:r>
            <a:r>
              <a:rPr lang="ru-RU" sz="22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  <a:t/>
            </a:r>
            <a:br>
              <a:rPr lang="ru-RU" sz="22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</a:br>
            <a:r>
              <a:rPr lang="ru-RU" sz="22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  <a:t>и </a:t>
            </a:r>
            <a:r>
              <a:rPr lang="ru-RU" sz="2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  <a:t>поддержка индивидуальной предпринимательской инициативы </a:t>
            </a:r>
            <a:r>
              <a:rPr lang="ru-RU" sz="22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  <a:t/>
            </a:r>
            <a:br>
              <a:rPr lang="ru-RU" sz="22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</a:br>
            <a:r>
              <a:rPr lang="ru-RU" sz="22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  <a:t>до </a:t>
            </a:r>
            <a:r>
              <a:rPr lang="ru-RU" sz="22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Helvetica Neue Medium"/>
              </a:rPr>
              <a:t>2024 года»</a:t>
            </a:r>
          </a:p>
        </p:txBody>
      </p:sp>
    </p:spTree>
    <p:extLst>
      <p:ext uri="{BB962C8B-B14F-4D97-AF65-F5344CB8AC3E}">
        <p14:creationId xmlns:p14="http://schemas.microsoft.com/office/powerpoint/2010/main" val="26022982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Users\user\Desktop\картинки\эмб\100 лет ТА1ССР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732" y="140912"/>
            <a:ext cx="1798561" cy="95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2537018" y="1175283"/>
            <a:ext cx="9654981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lnSpc>
                <a:spcPts val="2800"/>
              </a:lnSpc>
            </a:pPr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Финансирование федерального проекта </a:t>
            </a:r>
            <a:endParaRPr lang="ru-RU" sz="2800" b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2800"/>
              </a:lnSpc>
            </a:pP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оздание системы поддержки фермеров </a:t>
            </a:r>
            <a:endParaRPr lang="ru-RU" sz="2800" b="1" dirty="0" smtClean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2800"/>
              </a:lnSpc>
            </a:pP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витие сельской кооперации в 2019 году»</a:t>
            </a:r>
          </a:p>
        </p:txBody>
      </p:sp>
      <p:graphicFrame>
        <p:nvGraphicFramePr>
          <p:cNvPr id="31" name="Диаграмма 30"/>
          <p:cNvGraphicFramePr/>
          <p:nvPr>
            <p:extLst>
              <p:ext uri="{D42A27DB-BD31-4B8C-83A1-F6EECF244321}">
                <p14:modId xmlns:p14="http://schemas.microsoft.com/office/powerpoint/2010/main" val="991923213"/>
              </p:ext>
            </p:extLst>
          </p:nvPr>
        </p:nvGraphicFramePr>
        <p:xfrm>
          <a:off x="1932922" y="2261134"/>
          <a:ext cx="5936178" cy="39675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TextBox 31"/>
          <p:cNvSpPr txBox="1"/>
          <p:nvPr/>
        </p:nvSpPr>
        <p:spPr>
          <a:xfrm>
            <a:off x="838477" y="2492468"/>
            <a:ext cx="30212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b="1" i="1" dirty="0" smtClean="0">
                <a:latin typeface="Arial" pitchFamily="34" charset="0"/>
                <a:cs typeface="Arial" pitchFamily="34" charset="0"/>
              </a:rPr>
              <a:t>Средства бюджета </a:t>
            </a:r>
            <a:r>
              <a:rPr lang="ru-RU" b="1" i="1" dirty="0">
                <a:latin typeface="Arial" pitchFamily="34" charset="0"/>
                <a:cs typeface="Arial" pitchFamily="34" charset="0"/>
              </a:rPr>
              <a:t>РТ </a:t>
            </a:r>
            <a:r>
              <a:rPr lang="ru-RU" b="1" i="1" dirty="0" smtClean="0">
                <a:latin typeface="Arial" pitchFamily="34" charset="0"/>
                <a:cs typeface="Arial" pitchFamily="34" charset="0"/>
              </a:rPr>
              <a:t> </a:t>
            </a:r>
            <a:endParaRPr lang="ru-RU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863043" y="5742402"/>
            <a:ext cx="4369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i="1" dirty="0" smtClean="0">
                <a:latin typeface="Arial" pitchFamily="34" charset="0"/>
                <a:cs typeface="Arial" pitchFamily="34" charset="0"/>
              </a:rPr>
              <a:t>Средства федерального бюджета </a:t>
            </a:r>
            <a:endParaRPr lang="ru-RU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801200" y="3545217"/>
            <a:ext cx="2384051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200" b="1" dirty="0" smtClean="0">
                <a:latin typeface="Arial" pitchFamily="34" charset="0"/>
                <a:cs typeface="Arial" pitchFamily="34" charset="0"/>
              </a:rPr>
              <a:t>Общий </a:t>
            </a:r>
            <a:endParaRPr lang="ru-RU" sz="2200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200" b="1" dirty="0">
                <a:latin typeface="Arial" pitchFamily="34" charset="0"/>
                <a:cs typeface="Arial" pitchFamily="34" charset="0"/>
              </a:rPr>
              <a:t>объем средств </a:t>
            </a:r>
            <a:endParaRPr lang="ru-RU" sz="2200" b="1" dirty="0" smtClean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2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30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418,8</a:t>
            </a:r>
            <a:r>
              <a:rPr lang="ru-RU" sz="22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2300" b="1" dirty="0" smtClean="0">
                <a:latin typeface="Arial" pitchFamily="34" charset="0"/>
                <a:cs typeface="Arial" pitchFamily="34" charset="0"/>
              </a:rPr>
              <a:t>млн </a:t>
            </a:r>
            <a:r>
              <a:rPr lang="ru-RU" sz="2300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200" b="1" dirty="0" smtClean="0">
                <a:latin typeface="Arial" pitchFamily="34" charset="0"/>
                <a:cs typeface="Arial" pitchFamily="34" charset="0"/>
              </a:rPr>
              <a:t> </a:t>
            </a:r>
            <a:endParaRPr lang="ru-RU" sz="2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154265" y="2577585"/>
            <a:ext cx="4752648" cy="1107996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Ins="0" rtlCol="0">
            <a:spAutoFit/>
          </a:bodyPr>
          <a:lstStyle/>
          <a:p>
            <a:r>
              <a:rPr lang="ru-RU" sz="26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 соглашения </a:t>
            </a:r>
            <a:r>
              <a:rPr lang="ru-RU" sz="2000" b="1" dirty="0">
                <a:latin typeface="Arial" pitchFamily="34" charset="0"/>
                <a:cs typeface="Arial" pitchFamily="34" charset="0"/>
              </a:rPr>
              <a:t>о достижении 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2000" b="1" dirty="0" smtClean="0">
                <a:latin typeface="Arial" pitchFamily="34" charset="0"/>
                <a:cs typeface="Arial" pitchFamily="34" charset="0"/>
              </a:rPr>
            </a:b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лановых значений целевых </a:t>
            </a:r>
            <a:br>
              <a:rPr lang="ru-RU" sz="2000" b="1" dirty="0" smtClean="0">
                <a:latin typeface="Arial" pitchFamily="34" charset="0"/>
                <a:cs typeface="Arial" pitchFamily="34" charset="0"/>
              </a:rPr>
            </a:b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показателей регионального проекта 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154264" y="3918342"/>
            <a:ext cx="4752648" cy="141577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none" rIns="0" rtlCol="0">
            <a:spAutoFit/>
          </a:bodyPr>
          <a:lstStyle/>
          <a:p>
            <a:r>
              <a:rPr lang="ru-RU" sz="26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4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 соглашения </a:t>
            </a:r>
            <a:r>
              <a:rPr lang="ru-RU" sz="2000" b="1" dirty="0">
                <a:latin typeface="Arial" pitchFamily="34" charset="0"/>
                <a:cs typeface="Arial" pitchFamily="34" charset="0"/>
              </a:rPr>
              <a:t>о выделении </a:t>
            </a:r>
            <a:endParaRPr lang="ru-RU" sz="2000" b="1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2000" b="1" dirty="0" smtClean="0">
                <a:latin typeface="Arial" pitchFamily="34" charset="0"/>
                <a:cs typeface="Arial" pitchFamily="34" charset="0"/>
              </a:rPr>
              <a:t>финансирования из </a:t>
            </a:r>
            <a:r>
              <a:rPr lang="ru-RU" sz="2000" b="1" dirty="0">
                <a:latin typeface="Arial" pitchFamily="34" charset="0"/>
                <a:cs typeface="Arial" pitchFamily="34" charset="0"/>
              </a:rPr>
              <a:t>федерального </a:t>
            </a:r>
            <a:endParaRPr lang="ru-RU" sz="2000" b="1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2000" b="1" dirty="0" smtClean="0">
                <a:latin typeface="Arial" pitchFamily="34" charset="0"/>
                <a:cs typeface="Arial" pitchFamily="34" charset="0"/>
              </a:rPr>
              <a:t>бюджета </a:t>
            </a:r>
            <a:r>
              <a:rPr lang="ru-RU" sz="2000" b="1" dirty="0">
                <a:latin typeface="Arial" pitchFamily="34" charset="0"/>
                <a:cs typeface="Arial" pitchFamily="34" charset="0"/>
              </a:rPr>
              <a:t>на реализацию </a:t>
            </a:r>
          </a:p>
          <a:p>
            <a:r>
              <a:rPr lang="ru-RU" sz="2000" b="1" dirty="0" smtClean="0">
                <a:latin typeface="Arial" pitchFamily="34" charset="0"/>
                <a:cs typeface="Arial" pitchFamily="34" charset="0"/>
              </a:rPr>
              <a:t>регионального проекта </a:t>
            </a:r>
            <a:endParaRPr lang="ru-RU" sz="20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64406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Users\user\Desktop\картинки\эмб\100 лет ТА1ССР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732" y="140912"/>
            <a:ext cx="1798561" cy="95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1161808" y="1404177"/>
            <a:ext cx="10671609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200"/>
              </a:spcAft>
            </a:pPr>
            <a:r>
              <a:rPr lang="ru-RU" sz="2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е </a:t>
            </a:r>
            <a:r>
              <a:rPr lang="ru-RU" sz="2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</a:p>
          <a:p>
            <a:pPr algn="just">
              <a:spcAft>
                <a:spcPts val="1200"/>
              </a:spcAft>
            </a:pPr>
            <a:r>
              <a:rPr lang="ru-RU" sz="26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товая</a:t>
            </a:r>
            <a:r>
              <a:rPr lang="ru-RU" sz="26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 КФХ </a:t>
            </a:r>
            <a:r>
              <a:rPr lang="ru-RU" sz="2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 варианта):</a:t>
            </a:r>
            <a:endParaRPr lang="ru-RU" sz="2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1200"/>
              </a:spcAft>
            </a:pPr>
            <a:r>
              <a:rPr lang="ru-RU" sz="26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вариант </a:t>
            </a:r>
            <a:r>
              <a:rPr lang="ru-RU" sz="2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т до </a:t>
            </a:r>
            <a:r>
              <a:rPr lang="ru-RU" sz="3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2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лн</a:t>
            </a:r>
            <a:r>
              <a:rPr lang="en-US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2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направления деятельности хозяйства.</a:t>
            </a:r>
          </a:p>
          <a:p>
            <a:pPr algn="just">
              <a:spcAft>
                <a:spcPts val="1200"/>
              </a:spcAft>
            </a:pPr>
            <a:r>
              <a:rPr lang="ru-RU" sz="2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ство КФХ </a:t>
            </a:r>
            <a:r>
              <a:rPr lang="ru-RU" sz="2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создать не </a:t>
            </a:r>
            <a:r>
              <a:rPr lang="ru-RU" sz="2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ее 1 рабочего места </a:t>
            </a:r>
            <a:r>
              <a:rPr lang="ru-RU" sz="2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2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ый 1 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  <a:r>
              <a:rPr lang="ru-RU" sz="26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ранта;</a:t>
            </a:r>
            <a:endParaRPr lang="ru-RU" sz="2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1200"/>
              </a:spcAft>
            </a:pPr>
            <a:r>
              <a:rPr lang="ru-RU" sz="26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2600" b="1" i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иант </a:t>
            </a:r>
            <a:r>
              <a:rPr lang="ru-RU" sz="2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26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ый </a:t>
            </a:r>
            <a:r>
              <a:rPr lang="ru-RU" sz="2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 гранта </a:t>
            </a:r>
            <a:r>
              <a:rPr lang="ru-RU" sz="2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3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млн </a:t>
            </a:r>
            <a:r>
              <a:rPr lang="ru-RU" sz="26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spcAft>
                <a:spcPts val="1200"/>
              </a:spcAft>
            </a:pPr>
            <a:r>
              <a:rPr lang="ru-RU" sz="2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менее 25%, но не более 50% средств гранта КФХ будет обязано внести в неделимый фонд </a:t>
            </a:r>
            <a:r>
              <a:rPr lang="ru-RU" sz="2600" b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К</a:t>
            </a:r>
            <a:r>
              <a:rPr lang="ru-RU" sz="26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членом которого оно является. </a:t>
            </a:r>
            <a:endParaRPr lang="ru-RU" sz="26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2982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Users\user\Desktop\картинки\эмб\100 лет ТА1ССР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732" y="140912"/>
            <a:ext cx="1798561" cy="95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1130895" y="1176898"/>
            <a:ext cx="10729411" cy="5760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600"/>
              </a:lnSpc>
            </a:pP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оприятие 2. </a:t>
            </a:r>
            <a:endParaRPr lang="ru-RU" sz="2200" b="1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 indent="-358775" algn="just">
              <a:lnSpc>
                <a:spcPts val="2600"/>
              </a:lnSpc>
            </a:pP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Субсидии на возмещение части затрат СПоК, связанных с реализацией сельхозпродукции, полученной от членов СПоК. </a:t>
            </a:r>
          </a:p>
          <a:p>
            <a:pPr>
              <a:lnSpc>
                <a:spcPts val="2600"/>
              </a:lnSpc>
            </a:pP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р субсидий исходя из объема реализованной продукции:</a:t>
            </a:r>
          </a:p>
          <a:p>
            <a:pPr>
              <a:lnSpc>
                <a:spcPts val="2600"/>
              </a:lnSpc>
            </a:pP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от 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1-10 млн </a:t>
            </a:r>
            <a:r>
              <a:rPr lang="ru-RU" sz="22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в год - 10% затрат; </a:t>
            </a:r>
          </a:p>
          <a:p>
            <a:pPr>
              <a:lnSpc>
                <a:spcPts val="2600"/>
              </a:lnSpc>
            </a:pP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от 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11-20 млн </a:t>
            </a:r>
            <a:r>
              <a:rPr lang="ru-RU" sz="22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в год - 12% затрат;</a:t>
            </a:r>
          </a:p>
          <a:p>
            <a:pPr lvl="0">
              <a:lnSpc>
                <a:spcPts val="2600"/>
              </a:lnSpc>
            </a:pP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от 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21 млн </a:t>
            </a:r>
            <a:r>
              <a:rPr lang="ru-RU" sz="22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в год и выше - 15% затрат</a:t>
            </a:r>
          </a:p>
          <a:p>
            <a:pPr lvl="0" algn="just">
              <a:lnSpc>
                <a:spcPts val="2600"/>
              </a:lnSpc>
            </a:pP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Предоставление субсидии </a:t>
            </a: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 при 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условии увеличения членов </a:t>
            </a:r>
            <a:r>
              <a:rPr lang="ru-RU" sz="2200" b="1" dirty="0" err="1">
                <a:latin typeface="Arial" panose="020B0604020202020204" pitchFamily="34" charset="0"/>
                <a:cs typeface="Arial" panose="020B0604020202020204" pitchFamily="34" charset="0"/>
              </a:rPr>
              <a:t>СПоК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 из числа ЛПХ и КФХ. </a:t>
            </a:r>
            <a:endParaRPr lang="ru-RU" sz="2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8775" lvl="0" indent="-358775" algn="just">
              <a:lnSpc>
                <a:spcPts val="2600"/>
              </a:lnSpc>
            </a:pP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	Субсидии 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возмещение части затрат (не более 50%) </a:t>
            </a:r>
            <a:r>
              <a:rPr lang="ru-RU" sz="22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К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 </a:t>
            </a:r>
            <a:r>
              <a:rPr lang="ru-RU" sz="2200" b="1" dirty="0" err="1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ьхозживотных</a:t>
            </a: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членов </a:t>
            </a:r>
            <a:r>
              <a:rPr lang="ru-RU" sz="22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К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sz="22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ьхозтехники 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оказания услуг членам </a:t>
            </a:r>
            <a:r>
              <a:rPr lang="ru-RU" sz="22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К</a:t>
            </a:r>
            <a:r>
              <a:rPr lang="ru-RU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indent="358775" algn="just">
              <a:lnSpc>
                <a:spcPts val="2600"/>
              </a:lnSpc>
            </a:pP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ера 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направлена на повышение привлекательности объединения </a:t>
            </a:r>
            <a:r>
              <a:rPr lang="ru-RU" sz="22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ельхозтоваропроизводителей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, в </a:t>
            </a:r>
            <a:r>
              <a:rPr lang="ru-RU" sz="22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 ЛПХ (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возможность приобретения поголовья с 50% скидкой и пользования техникой, в </a:t>
            </a:r>
            <a:r>
              <a:rPr lang="ru-RU" sz="22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2200" b="1" dirty="0">
                <a:latin typeface="Arial" panose="020B0604020202020204" pitchFamily="34" charset="0"/>
                <a:cs typeface="Arial" panose="020B0604020202020204" pitchFamily="34" charset="0"/>
              </a:rPr>
              <a:t>для заготовки кормов</a:t>
            </a:r>
            <a:r>
              <a:rPr lang="ru-RU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endParaRPr lang="ru-RU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2982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/>
          <p:cNvGrpSpPr/>
          <p:nvPr/>
        </p:nvGrpSpPr>
        <p:grpSpPr>
          <a:xfrm>
            <a:off x="673258" y="107365"/>
            <a:ext cx="6464915" cy="2144345"/>
            <a:chOff x="-142531" y="43960"/>
            <a:chExt cx="6464915" cy="2144345"/>
          </a:xfrm>
        </p:grpSpPr>
        <p:grpSp>
          <p:nvGrpSpPr>
            <p:cNvPr id="20" name="Группа 19"/>
            <p:cNvGrpSpPr/>
            <p:nvPr/>
          </p:nvGrpSpPr>
          <p:grpSpPr>
            <a:xfrm>
              <a:off x="-142531" y="43960"/>
              <a:ext cx="1508094" cy="1131071"/>
              <a:chOff x="-142531" y="43960"/>
              <a:chExt cx="1531129" cy="1148347"/>
            </a:xfrm>
          </p:grpSpPr>
          <p:sp>
            <p:nvSpPr>
              <p:cNvPr id="23" name="Овал 22"/>
              <p:cNvSpPr/>
              <p:nvPr/>
            </p:nvSpPr>
            <p:spPr>
              <a:xfrm>
                <a:off x="158261" y="158877"/>
                <a:ext cx="914399" cy="914399"/>
              </a:xfrm>
              <a:prstGeom prst="ellipse">
                <a:avLst/>
              </a:prstGeom>
              <a:solidFill>
                <a:srgbClr val="FFF8E5"/>
              </a:solidFill>
              <a:ln>
                <a:noFill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prstClr val="black"/>
                  </a:solidFill>
                </a:endParaRPr>
              </a:p>
            </p:txBody>
          </p:sp>
          <p:pic>
            <p:nvPicPr>
              <p:cNvPr id="25" name="Рисунок 24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42531" y="43960"/>
                <a:ext cx="1531129" cy="1148347"/>
              </a:xfrm>
              <a:prstGeom prst="rect">
                <a:avLst/>
              </a:prstGeom>
            </p:spPr>
          </p:pic>
        </p:grpSp>
        <p:sp>
          <p:nvSpPr>
            <p:cNvPr id="21" name="TextBox 20"/>
            <p:cNvSpPr txBox="1"/>
            <p:nvPr/>
          </p:nvSpPr>
          <p:spPr>
            <a:xfrm>
              <a:off x="1101403" y="182920"/>
              <a:ext cx="5220981" cy="6565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ts val="2200"/>
                </a:lnSpc>
              </a:pPr>
              <a:r>
                <a:rPr lang="ru-RU" sz="1900" b="1" dirty="0" smtClean="0">
                  <a:solidFill>
                    <a:srgbClr val="68AC04"/>
                  </a:solidFill>
                  <a:latin typeface="Arial" pitchFamily="34" charset="0"/>
                  <a:cs typeface="Arial" pitchFamily="34" charset="0"/>
                </a:rPr>
                <a:t>Министерство сельского хозяйства</a:t>
              </a:r>
            </a:p>
            <a:p>
              <a:pPr>
                <a:lnSpc>
                  <a:spcPts val="2200"/>
                </a:lnSpc>
              </a:pPr>
              <a:r>
                <a:rPr lang="ru-RU" sz="1900" b="1" dirty="0" smtClean="0">
                  <a:solidFill>
                    <a:srgbClr val="68AC04"/>
                  </a:solidFill>
                  <a:latin typeface="Arial" pitchFamily="34" charset="0"/>
                  <a:cs typeface="Arial" pitchFamily="34" charset="0"/>
                </a:rPr>
                <a:t>и продовольствия Республики Татарстан</a:t>
              </a:r>
              <a:endParaRPr lang="ru-RU" sz="1900" b="1" dirty="0">
                <a:solidFill>
                  <a:srgbClr val="68AC04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22" name="Picture 1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19630" y="1017340"/>
              <a:ext cx="81280" cy="11709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5" name="Picture 2" descr="C:\Users\user\Desktop\картинки\эмб\100 лет ТА1ССР-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732" y="140912"/>
            <a:ext cx="1798561" cy="95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2537018" y="1143751"/>
            <a:ext cx="9654981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lnSpc>
                <a:spcPts val="2800"/>
              </a:lnSpc>
            </a:pPr>
            <a:r>
              <a:rPr lang="ru-RU" sz="27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правления финансирования федерального </a:t>
            </a:r>
            <a:r>
              <a:rPr lang="ru-RU" sz="27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7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7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екта </a:t>
            </a:r>
            <a:r>
              <a:rPr lang="ru-RU" sz="27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Создание системы поддержки фермеров </a:t>
            </a:r>
            <a:r>
              <a:rPr lang="ru-RU" sz="27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7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7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27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витие сельской кооперации в 2019 году», млн </a:t>
            </a:r>
            <a:r>
              <a:rPr lang="ru-RU" sz="2700" b="1" strike="sngStrike" dirty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</a:t>
            </a:r>
          </a:p>
        </p:txBody>
      </p:sp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:p14="http://schemas.microsoft.com/office/powerpoint/2010/main" val="672321556"/>
              </p:ext>
            </p:extLst>
          </p:nvPr>
        </p:nvGraphicFramePr>
        <p:xfrm>
          <a:off x="1419846" y="2727434"/>
          <a:ext cx="10089931" cy="3987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925839" y="2530395"/>
            <a:ext cx="2642839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2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«АГРОСТАРТАП» </a:t>
            </a:r>
            <a:endParaRPr lang="ru-RU" sz="22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278003" y="4098935"/>
            <a:ext cx="232845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algn="ctr">
              <a:defRPr b="1" i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2200" i="0" dirty="0" smtClean="0">
                <a:solidFill>
                  <a:srgbClr val="0070C0"/>
                </a:solidFill>
              </a:rPr>
              <a:t>Субсидии</a:t>
            </a:r>
          </a:p>
          <a:p>
            <a:r>
              <a:rPr lang="ru-RU" sz="2200" i="0" dirty="0" smtClean="0">
                <a:solidFill>
                  <a:srgbClr val="0070C0"/>
                </a:solidFill>
              </a:rPr>
              <a:t> кооперативам </a:t>
            </a:r>
            <a:endParaRPr lang="ru-RU" sz="2200" i="0" dirty="0">
              <a:solidFill>
                <a:srgbClr val="0070C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883923" y="4224728"/>
            <a:ext cx="3958711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algn="ctr">
              <a:defRPr b="1" i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z="2200" i="0" dirty="0" err="1" smtClean="0">
                <a:solidFill>
                  <a:srgbClr val="0070C0"/>
                </a:solidFill>
              </a:rPr>
              <a:t>Софинансирование</a:t>
            </a:r>
            <a:r>
              <a:rPr lang="ru-RU" sz="2200" i="0" dirty="0" smtClean="0">
                <a:solidFill>
                  <a:srgbClr val="0070C0"/>
                </a:solidFill>
              </a:rPr>
              <a:t> затрат</a:t>
            </a:r>
          </a:p>
          <a:p>
            <a:r>
              <a:rPr lang="ru-RU" sz="2200" i="0" dirty="0" smtClean="0">
                <a:solidFill>
                  <a:srgbClr val="0070C0"/>
                </a:solidFill>
              </a:rPr>
              <a:t>ГБУ «Центр компетенций</a:t>
            </a:r>
          </a:p>
          <a:p>
            <a:r>
              <a:rPr lang="ru-RU" sz="2200" i="0" dirty="0" smtClean="0">
                <a:solidFill>
                  <a:srgbClr val="0070C0"/>
                </a:solidFill>
              </a:rPr>
              <a:t>по развитию кооперации» </a:t>
            </a:r>
            <a:endParaRPr lang="ru-RU" sz="2200" i="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982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Users\user\Desktop\картинки\эмб\100 лет ТА1ССР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732" y="140912"/>
            <a:ext cx="1798561" cy="95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2537018" y="1238347"/>
            <a:ext cx="9654981" cy="8020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Федеральный проект «Система поддержки фермеров 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 </a:t>
            </a:r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звитие сельской кооперации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443010" y="2289960"/>
            <a:ext cx="10070498" cy="369332"/>
          </a:xfrm>
          <a:prstGeom prst="rect">
            <a:avLst/>
          </a:prstGeom>
          <a:solidFill>
            <a:srgbClr val="FFFF99"/>
          </a:solidFill>
        </p:spPr>
        <p:txBody>
          <a:bodyPr vert="horz" wrap="square" lIns="0" tIns="0" rIns="0" bIns="0" rtlCol="0" anchor="b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sz="2200" b="1" dirty="0" smtClean="0">
                <a:latin typeface="Arial" pitchFamily="34" charset="0"/>
                <a:cs typeface="Arial" pitchFamily="34" charset="0"/>
              </a:rPr>
              <a:t>Предусмотрено на 2019 год - </a:t>
            </a:r>
            <a:r>
              <a:rPr lang="ru-RU" sz="24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418,8</a:t>
            </a:r>
            <a:r>
              <a:rPr lang="ru-RU" sz="2200" b="1" dirty="0" smtClean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24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200" b="1" dirty="0" smtClean="0">
                <a:latin typeface="Arial" pitchFamily="34" charset="0"/>
                <a:cs typeface="Arial" pitchFamily="34" charset="0"/>
              </a:rPr>
              <a:t>, освоено </a:t>
            </a:r>
            <a:r>
              <a:rPr lang="ru-RU" sz="24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418,8</a:t>
            </a:r>
            <a:r>
              <a:rPr lang="ru-RU" sz="2200" b="1" dirty="0" smtClean="0">
                <a:latin typeface="Arial" pitchFamily="34" charset="0"/>
                <a:cs typeface="Arial" pitchFamily="34" charset="0"/>
              </a:rPr>
              <a:t> млн </a:t>
            </a:r>
            <a:r>
              <a:rPr lang="ru-RU" sz="2400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endParaRPr lang="ru-RU" sz="2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Текст 2"/>
          <p:cNvSpPr txBox="1">
            <a:spLocks/>
          </p:cNvSpPr>
          <p:nvPr/>
        </p:nvSpPr>
        <p:spPr>
          <a:xfrm>
            <a:off x="1764283" y="2615565"/>
            <a:ext cx="3426313" cy="432990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defPPr>
              <a:defRPr lang="ru-RU"/>
            </a:defPPr>
            <a:lvl1pPr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200" dirty="0" err="1" smtClean="0"/>
              <a:t>Агростартап</a:t>
            </a:r>
            <a:endParaRPr lang="ru-RU" sz="2200" dirty="0"/>
          </a:p>
        </p:txBody>
      </p:sp>
      <p:sp>
        <p:nvSpPr>
          <p:cNvPr id="26" name="Текст 4"/>
          <p:cNvSpPr txBox="1">
            <a:spLocks/>
          </p:cNvSpPr>
          <p:nvPr/>
        </p:nvSpPr>
        <p:spPr>
          <a:xfrm>
            <a:off x="6952679" y="2615565"/>
            <a:ext cx="4163565" cy="432048"/>
          </a:xfrm>
          <a:prstGeom prst="rect">
            <a:avLst/>
          </a:prstGeom>
          <a:noFill/>
          <a:ln w="6350" cap="flat" cmpd="sng" algn="ctr">
            <a:noFill/>
            <a:prstDash val="solid"/>
            <a:miter lim="800000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>
            <a:defPPr>
              <a:defRPr lang="ru-RU"/>
            </a:defPPr>
            <a:lvl1pPr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ru-RU" sz="2200" dirty="0" smtClean="0"/>
              <a:t>Субсидии кооперативам</a:t>
            </a:r>
            <a:endParaRPr lang="ru-RU" sz="2200" dirty="0"/>
          </a:p>
        </p:txBody>
      </p:sp>
      <p:sp>
        <p:nvSpPr>
          <p:cNvPr id="27" name="TextBox 26"/>
          <p:cNvSpPr txBox="1"/>
          <p:nvPr/>
        </p:nvSpPr>
        <p:spPr>
          <a:xfrm>
            <a:off x="1128716" y="3012510"/>
            <a:ext cx="4995470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Господдержка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0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2,7</a:t>
            </a:r>
            <a:r>
              <a:rPr lang="ru-RU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  <a:r>
              <a:rPr lang="ru-RU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</a:p>
          <a:p>
            <a:pPr>
              <a:lnSpc>
                <a:spcPts val="2000"/>
              </a:lnSpc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оличество заявителе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0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2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чел.</a:t>
            </a:r>
          </a:p>
          <a:p>
            <a:pPr>
              <a:lnSpc>
                <a:spcPts val="2000"/>
              </a:lnSpc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обедителе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0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3</a:t>
            </a:r>
            <a:r>
              <a:rPr lang="ru-RU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чел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. (61 в статусе ЛПХ)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516071" y="3012510"/>
            <a:ext cx="5163401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2000"/>
              </a:lnSpc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Господдержка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0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8,8</a:t>
            </a:r>
            <a:r>
              <a:rPr lang="ru-RU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  <a:r>
              <a:rPr lang="ru-RU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</a:p>
          <a:p>
            <a:pPr>
              <a:lnSpc>
                <a:spcPts val="2000"/>
              </a:lnSpc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оличество заявителе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.12.19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0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  <a:r>
              <a:rPr lang="ru-RU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д. 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2000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8,8</a:t>
            </a:r>
            <a:r>
              <a:rPr lang="ru-RU" b="1" dirty="0" smtClean="0">
                <a:solidFill>
                  <a:srgbClr val="00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  <a:r>
              <a:rPr lang="ru-RU" b="1" strike="sngStrike" dirty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(освоение 100%)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4386842"/>
              </p:ext>
            </p:extLst>
          </p:nvPr>
        </p:nvGraphicFramePr>
        <p:xfrm>
          <a:off x="1202948" y="3876360"/>
          <a:ext cx="4722717" cy="272491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911846"/>
                <a:gridCol w="1810871"/>
              </a:tblGrid>
              <a:tr h="125361">
                <a:tc>
                  <a:txBody>
                    <a:bodyPr/>
                    <a:lstStyle/>
                    <a:p>
                      <a:pPr algn="ctr" fontAlgn="ctr">
                        <a:lnSpc>
                          <a:spcPct val="90000"/>
                        </a:lnSpc>
                      </a:pPr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аправления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90000"/>
                        </a:lnSpc>
                      </a:pPr>
                      <a:r>
                        <a:rPr lang="ru-RU" sz="16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К-во участников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9177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олочное скотоводство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3</a:t>
                      </a:r>
                      <a:endParaRPr lang="ru-RU" sz="16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9177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Мясное скотоводство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  <a:endParaRPr lang="ru-RU" sz="16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9177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человодство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3</a:t>
                      </a:r>
                      <a:endParaRPr lang="ru-RU" sz="16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9177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лодово-ягодные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ru-RU" sz="16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9177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тицеводство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</a:t>
                      </a:r>
                      <a:endParaRPr lang="ru-RU" sz="16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9177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ерновые и зернобобовые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</a:t>
                      </a:r>
                      <a:endParaRPr lang="ru-RU" sz="16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9177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оневодство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9177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вцеводство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9177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вощеводство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9177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Другие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91777">
                <a:tc>
                  <a:txBody>
                    <a:bodyPr/>
                    <a:lstStyle/>
                    <a:p>
                      <a:pPr algn="l" fontAlgn="b">
                        <a:lnSpc>
                          <a:spcPct val="90000"/>
                        </a:lnSpc>
                      </a:pPr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ИТОГО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90000"/>
                        </a:lnSpc>
                      </a:pPr>
                      <a:r>
                        <a:rPr lang="ru-RU" sz="16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03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rgbClr val="FFFF99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0" name="Таблица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4263120"/>
              </p:ext>
            </p:extLst>
          </p:nvPr>
        </p:nvGraphicFramePr>
        <p:xfrm>
          <a:off x="6318389" y="3883246"/>
          <a:ext cx="5371588" cy="2696049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780788"/>
                <a:gridCol w="1380565"/>
                <a:gridCol w="1210235"/>
              </a:tblGrid>
              <a:tr h="8956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аправления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-во заявителей, ед.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умма</a:t>
                      </a:r>
                      <a:r>
                        <a:rPr lang="ru-R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субсидии, млн </a:t>
                      </a:r>
                      <a:r>
                        <a:rPr lang="ru-RU" sz="1600" b="1" i="0" u="none" strike="sng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</a:t>
                      </a:r>
                      <a:endParaRPr lang="ru-RU" sz="1600" b="1" i="0" u="none" strike="sngStrike" dirty="0"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600148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акуп продукции у членов кооперативов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</a:t>
                      </a:r>
                      <a:endParaRPr lang="ru-RU" sz="20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7,3</a:t>
                      </a:r>
                      <a:endParaRPr lang="ru-RU" sz="20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600148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иобретение имущества</a:t>
                      </a:r>
                      <a:r>
                        <a:rPr lang="ru-RU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для передачи членам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1</a:t>
                      </a:r>
                      <a:endParaRPr lang="ru-RU" sz="20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,0</a:t>
                      </a:r>
                      <a:endParaRPr lang="ru-RU" sz="20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  <a:tr h="600148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Приобретение техники </a:t>
                      </a:r>
                      <a:br>
                        <a:rPr lang="ru-RU" sz="16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16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и оборудования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9</a:t>
                      </a:r>
                      <a:endParaRPr lang="ru-RU" sz="20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dirty="0" smtClean="0">
                          <a:solidFill>
                            <a:srgbClr val="0066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44,5</a:t>
                      </a:r>
                      <a:endParaRPr lang="ru-RU" sz="2000" b="1" i="0" u="none" strike="noStrike" dirty="0">
                        <a:solidFill>
                          <a:srgbClr val="0066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5715" marR="5715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19848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Users\user\Desktop\картинки\эмб\100 лет ТА1ССР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732" y="140912"/>
            <a:ext cx="1798561" cy="95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2537018" y="1238347"/>
            <a:ext cx="9654981" cy="8020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ыполнение показателей Национального Проекта 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8981789"/>
              </p:ext>
            </p:extLst>
          </p:nvPr>
        </p:nvGraphicFramePr>
        <p:xfrm>
          <a:off x="1199182" y="2459137"/>
          <a:ext cx="10563645" cy="403131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22128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387788"/>
                <a:gridCol w="14164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16424">
                  <a:extLst>
                    <a:ext uri="{9D8B030D-6E8A-4147-A177-3AD203B41FA5}">
                      <a16:colId xmlns:a16="http://schemas.microsoft.com/office/drawing/2014/main" xmlns="" val="1550049128"/>
                    </a:ext>
                  </a:extLst>
                </a:gridCol>
                <a:gridCol w="1121720"/>
              </a:tblGrid>
              <a:tr h="433474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казатели 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лан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Факт</a:t>
                      </a:r>
                      <a:endParaRPr lang="ru-RU" sz="20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6864">
                <a:tc row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ол-во</a:t>
                      </a:r>
                      <a:endParaRPr lang="ru-RU" sz="2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3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овлеченных в субъекты МСП</a:t>
                      </a:r>
                      <a:endParaRPr lang="ru-RU" sz="23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245</a:t>
                      </a:r>
                      <a:endParaRPr lang="ru-RU" sz="2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305</a:t>
                      </a:r>
                      <a:endParaRPr lang="ru-RU" sz="2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2</a:t>
                      </a:r>
                      <a:endParaRPr lang="ru-RU" sz="2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53643">
                <a:tc vMerge="1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3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инятых работников</a:t>
                      </a:r>
                      <a:r>
                        <a:rPr lang="ru-RU" sz="2300" b="1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3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ФХ в году получения грантов «</a:t>
                      </a:r>
                      <a:r>
                        <a:rPr lang="ru-RU" sz="2300" b="1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гростартап</a:t>
                      </a:r>
                      <a:r>
                        <a:rPr lang="ru-RU" sz="23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sz="23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0</a:t>
                      </a:r>
                      <a:endParaRPr lang="ru-RU" sz="2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2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3</a:t>
                      </a:r>
                      <a:endParaRPr lang="ru-RU" sz="2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30465">
                <a:tc vMerge="1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3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инятых членов сельскохозяйственных потребительских кооперативов</a:t>
                      </a:r>
                      <a:endParaRPr lang="ru-RU" sz="23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57</a:t>
                      </a:r>
                      <a:endParaRPr lang="ru-RU" sz="2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57</a:t>
                      </a:r>
                      <a:endParaRPr lang="ru-RU" sz="2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0</a:t>
                      </a:r>
                      <a:endParaRPr lang="ru-RU" sz="2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06864">
                <a:tc vMerge="1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22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3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новь созданных субъектов МСП</a:t>
                      </a:r>
                      <a:endParaRPr lang="ru-RU" sz="23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8</a:t>
                      </a:r>
                      <a:endParaRPr lang="ru-RU" sz="2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48</a:t>
                      </a:r>
                      <a:endParaRPr lang="ru-RU" sz="2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8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17</a:t>
                      </a:r>
                      <a:endParaRPr lang="ru-RU" sz="28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cell3D prstMaterial="dkEdge">
                      <a:bevel w="25400" h="25400" prst="angle"/>
                      <a:lightRig rig="flood" dir="t"/>
                    </a:cell3D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54958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C:\Users\user\Desktop\картинки\эмб\100 лет ТА1ССР-3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8732" y="140912"/>
            <a:ext cx="1798561" cy="95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2537018" y="1175283"/>
            <a:ext cx="9654981" cy="101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>
              <a:lnSpc>
                <a:spcPts val="2800"/>
              </a:lnSpc>
            </a:pPr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Финансирование национального проекта </a:t>
            </a:r>
          </a:p>
          <a:p>
            <a:pPr>
              <a:lnSpc>
                <a:spcPts val="2800"/>
              </a:lnSpc>
            </a:pPr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Международная кооперация и экспорт» </a:t>
            </a:r>
          </a:p>
          <a:p>
            <a:pPr>
              <a:lnSpc>
                <a:spcPts val="2800"/>
              </a:lnSpc>
            </a:pPr>
            <a:r>
              <a:rPr lang="ru-RU" sz="28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Республике Татарстан в 2019 </a:t>
            </a:r>
            <a:r>
              <a:rPr lang="ru-RU" sz="2800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году</a:t>
            </a:r>
            <a:endParaRPr lang="ru-RU" sz="28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2239464288"/>
              </p:ext>
            </p:extLst>
          </p:nvPr>
        </p:nvGraphicFramePr>
        <p:xfrm>
          <a:off x="1276077" y="2301774"/>
          <a:ext cx="5936178" cy="39675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117137" y="3585857"/>
            <a:ext cx="2438488" cy="12311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200" b="1" dirty="0" smtClean="0">
                <a:latin typeface="Arial" pitchFamily="34" charset="0"/>
                <a:cs typeface="Arial" pitchFamily="34" charset="0"/>
              </a:rPr>
              <a:t>Общий </a:t>
            </a:r>
            <a:endParaRPr lang="ru-RU" sz="2200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200" b="1" dirty="0">
                <a:latin typeface="Arial" pitchFamily="34" charset="0"/>
                <a:cs typeface="Arial" pitchFamily="34" charset="0"/>
              </a:rPr>
              <a:t>объем средств </a:t>
            </a:r>
            <a:endParaRPr lang="ru-RU" sz="2200" b="1" dirty="0" smtClean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3000" b="1" dirty="0" smtClean="0">
                <a:solidFill>
                  <a:srgbClr val="006600"/>
                </a:solidFill>
                <a:latin typeface="Arial" pitchFamily="34" charset="0"/>
                <a:cs typeface="Arial" pitchFamily="34" charset="0"/>
              </a:rPr>
              <a:t>38,67</a:t>
            </a:r>
            <a:r>
              <a:rPr lang="ru-RU" sz="22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2300" b="1" dirty="0" smtClean="0">
                <a:latin typeface="Arial" pitchFamily="34" charset="0"/>
                <a:cs typeface="Arial" pitchFamily="34" charset="0"/>
              </a:rPr>
              <a:t>млн </a:t>
            </a:r>
            <a:r>
              <a:rPr lang="ru-RU" sz="2300" b="1" strike="sngStrike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2200" b="1" dirty="0" smtClean="0">
                <a:latin typeface="Arial" pitchFamily="34" charset="0"/>
                <a:cs typeface="Arial" pitchFamily="34" charset="0"/>
              </a:rPr>
              <a:t> </a:t>
            </a:r>
            <a:endParaRPr lang="ru-RU" sz="2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98380" y="2297328"/>
            <a:ext cx="5492041" cy="111825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sz="2600"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lnSpc>
                <a:spcPts val="2000"/>
              </a:lnSpc>
            </a:pPr>
            <a:r>
              <a:rPr lang="ru-RU" sz="2000" dirty="0"/>
              <a:t>1</a:t>
            </a:r>
            <a:r>
              <a:rPr lang="ru-RU" sz="1700" dirty="0"/>
              <a:t> </a:t>
            </a:r>
            <a:r>
              <a:rPr lang="ru-RU" sz="1700" dirty="0">
                <a:solidFill>
                  <a:schemeClr val="tx1"/>
                </a:solidFill>
              </a:rPr>
              <a:t>соглашение о достижении плановых </a:t>
            </a:r>
            <a:endParaRPr lang="ru-RU" sz="1700" dirty="0" smtClean="0">
              <a:solidFill>
                <a:schemeClr val="tx1"/>
              </a:solidFill>
            </a:endParaRPr>
          </a:p>
          <a:p>
            <a:pPr>
              <a:lnSpc>
                <a:spcPts val="2000"/>
              </a:lnSpc>
            </a:pPr>
            <a:r>
              <a:rPr lang="ru-RU" sz="1700" dirty="0" smtClean="0">
                <a:solidFill>
                  <a:schemeClr val="tx1"/>
                </a:solidFill>
              </a:rPr>
              <a:t>значений </a:t>
            </a:r>
            <a:r>
              <a:rPr lang="ru-RU" sz="1700" dirty="0">
                <a:solidFill>
                  <a:schemeClr val="tx1"/>
                </a:solidFill>
              </a:rPr>
              <a:t>целевых показателей регионального проекта «Развитие экспорта в </a:t>
            </a:r>
            <a:r>
              <a:rPr lang="ru-RU" sz="1700" dirty="0" smtClean="0">
                <a:solidFill>
                  <a:schemeClr val="tx1"/>
                </a:solidFill>
              </a:rPr>
              <a:t>РТ на </a:t>
            </a:r>
            <a:r>
              <a:rPr lang="ru-RU" sz="1700" dirty="0">
                <a:solidFill>
                  <a:schemeClr val="tx1"/>
                </a:solidFill>
              </a:rPr>
              <a:t>период </a:t>
            </a:r>
            <a:endParaRPr lang="ru-RU" sz="1700" dirty="0" smtClean="0">
              <a:solidFill>
                <a:schemeClr val="tx1"/>
              </a:solidFill>
            </a:endParaRPr>
          </a:p>
          <a:p>
            <a:pPr>
              <a:lnSpc>
                <a:spcPts val="2000"/>
              </a:lnSpc>
            </a:pPr>
            <a:r>
              <a:rPr lang="ru-RU" sz="1700" dirty="0" smtClean="0">
                <a:solidFill>
                  <a:schemeClr val="tx1"/>
                </a:solidFill>
              </a:rPr>
              <a:t>2019-2024 </a:t>
            </a:r>
            <a:r>
              <a:rPr lang="ru-RU" sz="1700" dirty="0">
                <a:solidFill>
                  <a:schemeClr val="tx1"/>
                </a:solidFill>
              </a:rPr>
              <a:t>гг.» </a:t>
            </a:r>
            <a:r>
              <a:rPr lang="ru-RU" sz="1700" dirty="0" smtClean="0">
                <a:solidFill>
                  <a:schemeClr val="tx1"/>
                </a:solidFill>
              </a:rPr>
              <a:t>от </a:t>
            </a:r>
            <a:r>
              <a:rPr lang="ru-RU" sz="1700" dirty="0">
                <a:solidFill>
                  <a:schemeClr val="tx1"/>
                </a:solidFill>
              </a:rPr>
              <a:t>14.02.2019 № 082-2019-Т20073-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398380" y="3474319"/>
            <a:ext cx="5492041" cy="137473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b="1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lnSpc>
                <a:spcPts val="2000"/>
              </a:lnSpc>
            </a:pPr>
            <a:r>
              <a:rPr lang="ru-RU" sz="2000" dirty="0"/>
              <a:t>1</a:t>
            </a:r>
            <a:r>
              <a:rPr lang="ru-RU" sz="1700" dirty="0">
                <a:solidFill>
                  <a:schemeClr val="tx1"/>
                </a:solidFill>
              </a:rPr>
              <a:t> соглашение о выделении финансирования </a:t>
            </a:r>
            <a:endParaRPr lang="ru-RU" sz="1700" dirty="0" smtClean="0">
              <a:solidFill>
                <a:schemeClr val="tx1"/>
              </a:solidFill>
            </a:endParaRPr>
          </a:p>
          <a:p>
            <a:pPr>
              <a:lnSpc>
                <a:spcPts val="2000"/>
              </a:lnSpc>
            </a:pPr>
            <a:r>
              <a:rPr lang="ru-RU" sz="1700" dirty="0" smtClean="0">
                <a:solidFill>
                  <a:schemeClr val="tx1"/>
                </a:solidFill>
              </a:rPr>
              <a:t>из </a:t>
            </a:r>
            <a:r>
              <a:rPr lang="ru-RU" sz="1700" dirty="0">
                <a:solidFill>
                  <a:schemeClr val="tx1"/>
                </a:solidFill>
              </a:rPr>
              <a:t>федерального бюджета на реализацию регионального проекта «Развитие экспорта </a:t>
            </a:r>
            <a:endParaRPr lang="ru-RU" sz="1700" dirty="0" smtClean="0">
              <a:solidFill>
                <a:schemeClr val="tx1"/>
              </a:solidFill>
            </a:endParaRPr>
          </a:p>
          <a:p>
            <a:pPr>
              <a:lnSpc>
                <a:spcPts val="2000"/>
              </a:lnSpc>
            </a:pPr>
            <a:r>
              <a:rPr lang="ru-RU" sz="1700" dirty="0" smtClean="0">
                <a:solidFill>
                  <a:schemeClr val="tx1"/>
                </a:solidFill>
              </a:rPr>
              <a:t>в </a:t>
            </a:r>
            <a:r>
              <a:rPr lang="ru-RU" sz="1700" dirty="0">
                <a:solidFill>
                  <a:schemeClr val="tx1"/>
                </a:solidFill>
              </a:rPr>
              <a:t>Республике Татарстан на период 2019-2024 гг.» от 15.02.2019 № 082-08-2019-313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398380" y="4923429"/>
            <a:ext cx="5492042" cy="1138773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Ins="0" rtlCol="0">
            <a:spAutoFit/>
          </a:bodyPr>
          <a:lstStyle>
            <a:defPPr>
              <a:defRPr lang="ru-RU"/>
            </a:defPPr>
            <a:lvl1pPr>
              <a:defRPr b="1">
                <a:latin typeface="Arial" pitchFamily="34" charset="0"/>
                <a:cs typeface="Arial" pitchFamily="34" charset="0"/>
              </a:defRPr>
            </a:lvl1pPr>
          </a:lstStyle>
          <a:p>
            <a:pPr>
              <a:lnSpc>
                <a:spcPts val="2000"/>
              </a:lnSpc>
            </a:pPr>
            <a:r>
              <a:rPr lang="ru-RU" sz="1700" dirty="0"/>
              <a:t>Государственных контрактов на реализацию мероприятий регионального проекта «Развитие экспорта в Республике Татарстан на период </a:t>
            </a:r>
            <a:endParaRPr lang="ru-RU" sz="1700" dirty="0" smtClean="0"/>
          </a:p>
          <a:p>
            <a:pPr>
              <a:lnSpc>
                <a:spcPts val="2000"/>
              </a:lnSpc>
            </a:pPr>
            <a:r>
              <a:rPr lang="ru-RU" sz="1700" dirty="0" smtClean="0"/>
              <a:t>2019-2024 </a:t>
            </a:r>
            <a:r>
              <a:rPr lang="ru-RU" sz="1700" dirty="0"/>
              <a:t>гг.» не заключено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45046" y="2533108"/>
            <a:ext cx="177747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b="1" i="1" dirty="0" smtClean="0">
                <a:latin typeface="Arial" pitchFamily="34" charset="0"/>
                <a:cs typeface="Arial" pitchFamily="34" charset="0"/>
              </a:rPr>
              <a:t>Средства </a:t>
            </a:r>
          </a:p>
          <a:p>
            <a:pPr algn="r"/>
            <a:r>
              <a:rPr lang="ru-RU" b="1" i="1" dirty="0" smtClean="0">
                <a:latin typeface="Arial" pitchFamily="34" charset="0"/>
                <a:cs typeface="Arial" pitchFamily="34" charset="0"/>
              </a:rPr>
              <a:t>бюджета РТ </a:t>
            </a:r>
            <a:endParaRPr lang="ru-RU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90341" y="5098232"/>
            <a:ext cx="194784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ru-RU" b="1" i="1" dirty="0" smtClean="0">
                <a:latin typeface="Arial" pitchFamily="34" charset="0"/>
                <a:cs typeface="Arial" pitchFamily="34" charset="0"/>
              </a:rPr>
              <a:t>Средства </a:t>
            </a:r>
          </a:p>
          <a:p>
            <a:pPr algn="r"/>
            <a:r>
              <a:rPr lang="ru-RU" b="1" i="1" dirty="0" smtClean="0">
                <a:latin typeface="Arial" pitchFamily="34" charset="0"/>
                <a:cs typeface="Arial" pitchFamily="34" charset="0"/>
              </a:rPr>
              <a:t>федерального </a:t>
            </a:r>
          </a:p>
          <a:p>
            <a:pPr algn="r"/>
            <a:r>
              <a:rPr lang="ru-RU" b="1" i="1" dirty="0" smtClean="0">
                <a:latin typeface="Arial" pitchFamily="34" charset="0"/>
                <a:cs typeface="Arial" pitchFamily="34" charset="0"/>
              </a:rPr>
              <a:t>бюджета </a:t>
            </a:r>
            <a:endParaRPr lang="ru-RU" i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564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WeljqNOE2ZAAg6_MfO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6_Firm Format - Russian">
  <a:themeElements>
    <a:clrScheme name="Firm Format - Russian 5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DEDFE7"/>
      </a:accent1>
      <a:accent2>
        <a:srgbClr val="8CC742"/>
      </a:accent2>
      <a:accent3>
        <a:srgbClr val="FFFFFF"/>
      </a:accent3>
      <a:accent4>
        <a:srgbClr val="000000"/>
      </a:accent4>
      <a:accent5>
        <a:srgbClr val="ECECF1"/>
      </a:accent5>
      <a:accent6>
        <a:srgbClr val="7EB43B"/>
      </a:accent6>
      <a:hlink>
        <a:srgbClr val="FFAE18"/>
      </a:hlink>
      <a:folHlink>
        <a:srgbClr val="049136"/>
      </a:folHlink>
    </a:clrScheme>
    <a:fontScheme name="Firm Format - Russi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49136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DEDFE7"/>
        </a:accent1>
        <a:accent2>
          <a:srgbClr val="8CC742"/>
        </a:accent2>
        <a:accent3>
          <a:srgbClr val="FFFFFF"/>
        </a:accent3>
        <a:accent4>
          <a:srgbClr val="000000"/>
        </a:accent4>
        <a:accent5>
          <a:srgbClr val="ECECF1"/>
        </a:accent5>
        <a:accent6>
          <a:srgbClr val="7EB43B"/>
        </a:accent6>
        <a:hlink>
          <a:srgbClr val="FFAE18"/>
        </a:hlink>
        <a:folHlink>
          <a:srgbClr val="04913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134</TotalTime>
  <Words>771</Words>
  <Application>Microsoft Office PowerPoint</Application>
  <PresentationFormat>Широкоэкранный</PresentationFormat>
  <Paragraphs>201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1" baseType="lpstr">
      <vt:lpstr>Arial</vt:lpstr>
      <vt:lpstr>Calibri</vt:lpstr>
      <vt:lpstr>Calibri Light</vt:lpstr>
      <vt:lpstr>Helvetica Neue Medium</vt:lpstr>
      <vt:lpstr>Times New Roman</vt:lpstr>
      <vt:lpstr>Wingdings</vt:lpstr>
      <vt:lpstr>1_Тема Office</vt:lpstr>
      <vt:lpstr>16_Firm Format - Russia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olopov</dc:creator>
  <cp:lastModifiedBy>Пользователь Windows</cp:lastModifiedBy>
  <cp:revision>5770</cp:revision>
  <cp:lastPrinted>2019-12-06T07:46:31Z</cp:lastPrinted>
  <dcterms:created xsi:type="dcterms:W3CDTF">2017-01-20T06:03:46Z</dcterms:created>
  <dcterms:modified xsi:type="dcterms:W3CDTF">2019-12-30T10:19:06Z</dcterms:modified>
</cp:coreProperties>
</file>